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1.xml" ContentType="application/vnd.openxmlformats-officedocument.presentationml.notesSlide+xml"/>
  <Override PartName="/ppt/charts/chart115.xml" ContentType="application/vnd.openxmlformats-officedocument.drawingml.chart+xml"/>
  <Override PartName="/ppt/tags/tag173.xml" ContentType="application/vnd.openxmlformats-officedocument.presentationml.tags+xml"/>
  <Override PartName="/ppt/notesSlides/notesSlide2.xml" ContentType="application/vnd.openxmlformats-officedocument.presentationml.notesSlide+xml"/>
  <Override PartName="/ppt/charts/chart116.xml" ContentType="application/vnd.openxmlformats-officedocument.drawingml.chart+xml"/>
  <Override PartName="/ppt/tags/tag174.xml" ContentType="application/vnd.openxmlformats-officedocument.presentationml.tags+xml"/>
  <Override PartName="/ppt/notesSlides/notesSlide3.xml" ContentType="application/vnd.openxmlformats-officedocument.presentationml.notesSlide+xml"/>
  <Override PartName="/ppt/charts/chart117.xml" ContentType="application/vnd.openxmlformats-officedocument.drawingml.chart+xml"/>
  <Override PartName="/ppt/tags/tag175.xml" ContentType="application/vnd.openxmlformats-officedocument.presentationml.tags+xml"/>
  <Override PartName="/ppt/notesSlides/notesSlide4.xml" ContentType="application/vnd.openxmlformats-officedocument.presentationml.notesSlide+xml"/>
  <Override PartName="/ppt/charts/chart118.xml" ContentType="application/vnd.openxmlformats-officedocument.drawingml.chart+xml"/>
  <Override PartName="/ppt/tags/tag176.xml" ContentType="application/vnd.openxmlformats-officedocument.presentationml.tags+xml"/>
  <Override PartName="/ppt/notesSlides/notesSlide5.xml" ContentType="application/vnd.openxmlformats-officedocument.presentationml.notesSlide+xml"/>
  <Override PartName="/ppt/charts/chart119.xml" ContentType="application/vnd.openxmlformats-officedocument.drawingml.chart+xml"/>
  <Override PartName="/ppt/tags/tag177.xml" ContentType="application/vnd.openxmlformats-officedocument.presentationml.tags+xml"/>
  <Override PartName="/ppt/notesSlides/notesSlide6.xml" ContentType="application/vnd.openxmlformats-officedocument.presentationml.notesSlide+xml"/>
  <Override PartName="/ppt/charts/chart120.xml" ContentType="application/vnd.openxmlformats-officedocument.drawingml.chart+xml"/>
  <Override PartName="/ppt/tags/tag178.xml" ContentType="application/vnd.openxmlformats-officedocument.presentationml.tags+xml"/>
  <Override PartName="/ppt/notesSlides/notesSlide7.xml" ContentType="application/vnd.openxmlformats-officedocument.presentationml.notesSlide+xml"/>
  <Override PartName="/ppt/charts/chart121.xml" ContentType="application/vnd.openxmlformats-officedocument.drawingml.chart+xml"/>
  <Override PartName="/ppt/tags/tag179.xml" ContentType="application/vnd.openxmlformats-officedocument.presentationml.tags+xml"/>
  <Override PartName="/ppt/notesSlides/notesSlide8.xml" ContentType="application/vnd.openxmlformats-officedocument.presentationml.notesSlide+xml"/>
  <Override PartName="/ppt/charts/chart122.xml" ContentType="application/vnd.openxmlformats-officedocument.drawingml.chart+xml"/>
  <Override PartName="/ppt/tags/tag180.xml" ContentType="application/vnd.openxmlformats-officedocument.presentationml.tags+xml"/>
  <Override PartName="/ppt/notesSlides/notesSlide9.xml" ContentType="application/vnd.openxmlformats-officedocument.presentationml.notesSlide+xml"/>
  <Override PartName="/ppt/charts/chart123.xml" ContentType="application/vnd.openxmlformats-officedocument.drawingml.chart+xml"/>
  <Override PartName="/ppt/tags/tag181.xml" ContentType="application/vnd.openxmlformats-officedocument.presentationml.tags+xml"/>
  <Override PartName="/ppt/notesSlides/notesSlide10.xml" ContentType="application/vnd.openxmlformats-officedocument.presentationml.notesSlide+xml"/>
  <Override PartName="/ppt/charts/chart124.xml" ContentType="application/vnd.openxmlformats-officedocument.drawingml.chart+xml"/>
  <Override PartName="/ppt/tags/tag182.xml" ContentType="application/vnd.openxmlformats-officedocument.presentationml.tags+xml"/>
  <Override PartName="/ppt/notesSlides/notesSlide11.xml" ContentType="application/vnd.openxmlformats-officedocument.presentationml.notesSlide+xml"/>
  <Override PartName="/ppt/charts/chart125.xml" ContentType="application/vnd.openxmlformats-officedocument.drawingml.chart+xml"/>
  <Override PartName="/ppt/tags/tag183.xml" ContentType="application/vnd.openxmlformats-officedocument.presentationml.tags+xml"/>
  <Override PartName="/ppt/notesSlides/notesSlide12.xml" ContentType="application/vnd.openxmlformats-officedocument.presentationml.notesSlide+xml"/>
  <Override PartName="/ppt/charts/chart126.xml" ContentType="application/vnd.openxmlformats-officedocument.drawingml.chart+xml"/>
  <Override PartName="/ppt/tags/tag184.xml" ContentType="application/vnd.openxmlformats-officedocument.presentationml.tags+xml"/>
  <Override PartName="/ppt/notesSlides/notesSlide13.xml" ContentType="application/vnd.openxmlformats-officedocument.presentationml.notesSlide+xml"/>
  <Override PartName="/ppt/charts/chart127.xml" ContentType="application/vnd.openxmlformats-officedocument.drawingml.chart+xml"/>
  <Override PartName="/ppt/tags/tag185.xml" ContentType="application/vnd.openxmlformats-officedocument.presentationml.tags+xml"/>
  <Override PartName="/ppt/notesSlides/notesSlide14.xml" ContentType="application/vnd.openxmlformats-officedocument.presentationml.notesSlide+xml"/>
  <Override PartName="/ppt/charts/chart128.xml" ContentType="application/vnd.openxmlformats-officedocument.drawingml.chart+xml"/>
  <Override PartName="/ppt/tags/tag186.xml" ContentType="application/vnd.openxmlformats-officedocument.presentationml.tags+xml"/>
  <Override PartName="/ppt/notesSlides/notesSlide15.xml" ContentType="application/vnd.openxmlformats-officedocument.presentationml.notesSlide+xml"/>
  <Override PartName="/ppt/charts/chart129.xml" ContentType="application/vnd.openxmlformats-officedocument.drawingml.chart+xml"/>
  <Override PartName="/ppt/tags/tag187.xml" ContentType="application/vnd.openxmlformats-officedocument.presentationml.tags+xml"/>
  <Override PartName="/ppt/notesSlides/notesSlide16.xml" ContentType="application/vnd.openxmlformats-officedocument.presentationml.notesSlide+xml"/>
  <Override PartName="/ppt/charts/chart130.xml" ContentType="application/vnd.openxmlformats-officedocument.drawingml.chart+xml"/>
  <Override PartName="/ppt/tags/tag188.xml" ContentType="application/vnd.openxmlformats-officedocument.presentationml.tags+xml"/>
  <Override PartName="/ppt/notesSlides/notesSlide17.xml" ContentType="application/vnd.openxmlformats-officedocument.presentationml.notesSlide+xml"/>
  <Override PartName="/ppt/charts/chart131.xml" ContentType="application/vnd.openxmlformats-officedocument.drawingml.chart+xml"/>
  <Override PartName="/ppt/tags/tag189.xml" ContentType="application/vnd.openxmlformats-officedocument.presentationml.tags+xml"/>
  <Override PartName="/ppt/notesSlides/notesSlide18.xml" ContentType="application/vnd.openxmlformats-officedocument.presentationml.notesSlide+xml"/>
  <Override PartName="/ppt/charts/chart132.xml" ContentType="application/vnd.openxmlformats-officedocument.drawingml.chart+xml"/>
  <Override PartName="/ppt/tags/tag190.xml" ContentType="application/vnd.openxmlformats-officedocument.presentationml.tags+xml"/>
  <Override PartName="/ppt/notesSlides/notesSlide19.xml" ContentType="application/vnd.openxmlformats-officedocument.presentationml.notesSlide+xml"/>
  <Override PartName="/ppt/charts/chart133.xml" ContentType="application/vnd.openxmlformats-officedocument.drawingml.chart+xml"/>
  <Override PartName="/ppt/tags/tag191.xml" ContentType="application/vnd.openxmlformats-officedocument.presentationml.tags+xml"/>
  <Override PartName="/ppt/notesSlides/notesSlide20.xml" ContentType="application/vnd.openxmlformats-officedocument.presentationml.notesSlide+xml"/>
  <Override PartName="/ppt/charts/chart134.xml" ContentType="application/vnd.openxmlformats-officedocument.drawingml.chart+xml"/>
  <Override PartName="/ppt/tags/tag192.xml" ContentType="application/vnd.openxmlformats-officedocument.presentationml.tags+xml"/>
  <Override PartName="/ppt/notesSlides/notesSlide21.xml" ContentType="application/vnd.openxmlformats-officedocument.presentationml.notesSlide+xml"/>
  <Override PartName="/ppt/charts/chart135.xml" ContentType="application/vnd.openxmlformats-officedocument.drawingml.chart+xml"/>
  <Override PartName="/ppt/tags/tag193.xml" ContentType="application/vnd.openxmlformats-officedocument.presentationml.tags+xml"/>
  <Override PartName="/ppt/notesSlides/notesSlide22.xml" ContentType="application/vnd.openxmlformats-officedocument.presentationml.notesSlide+xml"/>
  <Override PartName="/ppt/charts/chart136.xml" ContentType="application/vnd.openxmlformats-officedocument.drawingml.chart+xml"/>
  <Override PartName="/ppt/tags/tag194.xml" ContentType="application/vnd.openxmlformats-officedocument.presentationml.tags+xml"/>
  <Override PartName="/ppt/notesSlides/notesSlide23.xml" ContentType="application/vnd.openxmlformats-officedocument.presentationml.notesSlide+xml"/>
  <Override PartName="/ppt/charts/chart137.xml" ContentType="application/vnd.openxmlformats-officedocument.drawingml.chart+xml"/>
  <Override PartName="/ppt/tags/tag195.xml" ContentType="application/vnd.openxmlformats-officedocument.presentationml.tags+xml"/>
  <Override PartName="/ppt/notesSlides/notesSlide24.xml" ContentType="application/vnd.openxmlformats-officedocument.presentationml.notesSlide+xml"/>
  <Override PartName="/ppt/charts/chart138.xml" ContentType="application/vnd.openxmlformats-officedocument.drawingml.chart+xml"/>
  <Override PartName="/ppt/tags/tag196.xml" ContentType="application/vnd.openxmlformats-officedocument.presentationml.tags+xml"/>
  <Override PartName="/ppt/notesSlides/notesSlide25.xml" ContentType="application/vnd.openxmlformats-officedocument.presentationml.notesSlide+xml"/>
  <Override PartName="/ppt/charts/chart139.xml" ContentType="application/vnd.openxmlformats-officedocument.drawingml.chart+xml"/>
  <Override PartName="/ppt/tags/tag197.xml" ContentType="application/vnd.openxmlformats-officedocument.presentationml.tags+xml"/>
  <Override PartName="/ppt/notesSlides/notesSlide26.xml" ContentType="application/vnd.openxmlformats-officedocument.presentationml.notesSlide+xml"/>
  <Override PartName="/ppt/charts/chart140.xml" ContentType="application/vnd.openxmlformats-officedocument.drawingml.chart+xml"/>
  <Override PartName="/ppt/tags/tag198.xml" ContentType="application/vnd.openxmlformats-officedocument.presentationml.tags+xml"/>
  <Override PartName="/ppt/notesSlides/notesSlide27.xml" ContentType="application/vnd.openxmlformats-officedocument.presentationml.notesSlide+xml"/>
  <Override PartName="/ppt/charts/chart141.xml" ContentType="application/vnd.openxmlformats-officedocument.drawingml.chart+xml"/>
  <Override PartName="/ppt/tags/tag199.xml" ContentType="application/vnd.openxmlformats-officedocument.presentationml.tags+xml"/>
  <Override PartName="/ppt/notesSlides/notesSlide28.xml" ContentType="application/vnd.openxmlformats-officedocument.presentationml.notesSlide+xml"/>
  <Override PartName="/ppt/charts/chart142.xml" ContentType="application/vnd.openxmlformats-officedocument.drawingml.chart+xml"/>
  <Override PartName="/ppt/tags/tag200.xml" ContentType="application/vnd.openxmlformats-officedocument.presentationml.tags+xml"/>
  <Override PartName="/ppt/notesSlides/notesSlide29.xml" ContentType="application/vnd.openxmlformats-officedocument.presentationml.notesSlide+xml"/>
  <Override PartName="/ppt/charts/chart143.xml" ContentType="application/vnd.openxmlformats-officedocument.drawingml.chart+xml"/>
  <Override PartName="/ppt/tags/tag201.xml" ContentType="application/vnd.openxmlformats-officedocument.presentationml.tags+xml"/>
  <Override PartName="/ppt/notesSlides/notesSlide30.xml" ContentType="application/vnd.openxmlformats-officedocument.presentationml.notesSlide+xml"/>
  <Override PartName="/ppt/charts/chart144.xml" ContentType="application/vnd.openxmlformats-officedocument.drawingml.chart+xml"/>
  <Override PartName="/ppt/tags/tag202.xml" ContentType="application/vnd.openxmlformats-officedocument.presentationml.tags+xml"/>
  <Override PartName="/ppt/notesSlides/notesSlide31.xml" ContentType="application/vnd.openxmlformats-officedocument.presentationml.notesSlide+xml"/>
  <Override PartName="/ppt/charts/chart145.xml" ContentType="application/vnd.openxmlformats-officedocument.drawingml.chart+xml"/>
  <Override PartName="/ppt/tags/tag203.xml" ContentType="application/vnd.openxmlformats-officedocument.presentationml.tags+xml"/>
  <Override PartName="/ppt/notesSlides/notesSlide32.xml" ContentType="application/vnd.openxmlformats-officedocument.presentationml.notesSlide+xml"/>
  <Override PartName="/ppt/charts/chart146.xml" ContentType="application/vnd.openxmlformats-officedocument.drawingml.chart+xml"/>
  <Override PartName="/ppt/tags/tag204.xml" ContentType="application/vnd.openxmlformats-officedocument.presentationml.tags+xml"/>
  <Override PartName="/ppt/notesSlides/notesSlide33.xml" ContentType="application/vnd.openxmlformats-officedocument.presentationml.notesSlide+xml"/>
  <Override PartName="/ppt/charts/chart147.xml" ContentType="application/vnd.openxmlformats-officedocument.drawingml.chart+xml"/>
  <Override PartName="/ppt/tags/tag205.xml" ContentType="application/vnd.openxmlformats-officedocument.presentationml.tags+xml"/>
  <Override PartName="/ppt/notesSlides/notesSlide34.xml" ContentType="application/vnd.openxmlformats-officedocument.presentationml.notesSlide+xml"/>
  <Override PartName="/ppt/charts/chart148.xml" ContentType="application/vnd.openxmlformats-officedocument.drawingml.chart+xml"/>
  <Override PartName="/ppt/tags/tag206.xml" ContentType="application/vnd.openxmlformats-officedocument.presentationml.tags+xml"/>
  <Override PartName="/ppt/notesSlides/notesSlide35.xml" ContentType="application/vnd.openxmlformats-officedocument.presentationml.notesSlide+xml"/>
  <Override PartName="/ppt/charts/chart149.xml" ContentType="application/vnd.openxmlformats-officedocument.drawingml.chart+xml"/>
  <Override PartName="/ppt/tags/tag207.xml" ContentType="application/vnd.openxmlformats-officedocument.presentationml.tags+xml"/>
  <Override PartName="/ppt/notesSlides/notesSlide36.xml" ContentType="application/vnd.openxmlformats-officedocument.presentationml.notesSlide+xml"/>
  <Override PartName="/ppt/charts/chart150.xml" ContentType="application/vnd.openxmlformats-officedocument.drawingml.chart+xml"/>
  <Override PartName="/ppt/tags/tag208.xml" ContentType="application/vnd.openxmlformats-officedocument.presentationml.tags+xml"/>
  <Override PartName="/ppt/notesSlides/notesSlide37.xml" ContentType="application/vnd.openxmlformats-officedocument.presentationml.notesSlide+xml"/>
  <Override PartName="/ppt/charts/chart151.xml" ContentType="application/vnd.openxmlformats-officedocument.drawingml.chart+xml"/>
  <Override PartName="/ppt/tags/tag209.xml" ContentType="application/vnd.openxmlformats-officedocument.presentationml.tags+xml"/>
  <Override PartName="/ppt/notesSlides/notesSlide38.xml" ContentType="application/vnd.openxmlformats-officedocument.presentationml.notesSlide+xml"/>
  <Override PartName="/ppt/charts/chart152.xml" ContentType="application/vnd.openxmlformats-officedocument.drawingml.chart+xml"/>
  <Override PartName="/ppt/tags/tag210.xml" ContentType="application/vnd.openxmlformats-officedocument.presentationml.tags+xml"/>
  <Override PartName="/ppt/notesSlides/notesSlide39.xml" ContentType="application/vnd.openxmlformats-officedocument.presentationml.notesSlide+xml"/>
  <Override PartName="/ppt/charts/chart153.xml" ContentType="application/vnd.openxmlformats-officedocument.drawingml.chart+xml"/>
  <Override PartName="/ppt/tags/tag211.xml" ContentType="application/vnd.openxmlformats-officedocument.presentationml.tags+xml"/>
  <Override PartName="/ppt/notesSlides/notesSlide40.xml" ContentType="application/vnd.openxmlformats-officedocument.presentationml.notesSlide+xml"/>
  <Override PartName="/ppt/charts/chart154.xml" ContentType="application/vnd.openxmlformats-officedocument.drawingml.chart+xml"/>
  <Override PartName="/ppt/tags/tag212.xml" ContentType="application/vnd.openxmlformats-officedocument.presentationml.tags+xml"/>
  <Override PartName="/ppt/notesSlides/notesSlide41.xml" ContentType="application/vnd.openxmlformats-officedocument.presentationml.notesSlide+xml"/>
  <Override PartName="/ppt/charts/chart155.xml" ContentType="application/vnd.openxmlformats-officedocument.drawingml.chart+xml"/>
  <Override PartName="/ppt/tags/tag213.xml" ContentType="application/vnd.openxmlformats-officedocument.presentationml.tags+xml"/>
  <Override PartName="/ppt/notesSlides/notesSlide42.xml" ContentType="application/vnd.openxmlformats-officedocument.presentationml.notesSlide+xml"/>
  <Override PartName="/ppt/charts/chart156.xml" ContentType="application/vnd.openxmlformats-officedocument.drawingml.chart+xml"/>
  <Override PartName="/ppt/tags/tag214.xml" ContentType="application/vnd.openxmlformats-officedocument.presentationml.tags+xml"/>
  <Override PartName="/ppt/notesSlides/notesSlide43.xml" ContentType="application/vnd.openxmlformats-officedocument.presentationml.notesSlide+xml"/>
  <Override PartName="/ppt/charts/chart157.xml" ContentType="application/vnd.openxmlformats-officedocument.drawingml.chart+xml"/>
  <Override PartName="/ppt/tags/tag215.xml" ContentType="application/vnd.openxmlformats-officedocument.presentationml.tags+xml"/>
  <Override PartName="/ppt/notesSlides/notesSlide44.xml" ContentType="application/vnd.openxmlformats-officedocument.presentationml.notesSlide+xml"/>
  <Override PartName="/ppt/charts/chart158.xml" ContentType="application/vnd.openxmlformats-officedocument.drawingml.chart+xml"/>
  <Override PartName="/ppt/tags/tag216.xml" ContentType="application/vnd.openxmlformats-officedocument.presentationml.tags+xml"/>
  <Override PartName="/ppt/notesSlides/notesSlide45.xml" ContentType="application/vnd.openxmlformats-officedocument.presentationml.notesSlide+xml"/>
  <Override PartName="/ppt/charts/chart159.xml" ContentType="application/vnd.openxmlformats-officedocument.drawingml.chart+xml"/>
  <Override PartName="/ppt/tags/tag217.xml" ContentType="application/vnd.openxmlformats-officedocument.presentationml.tags+xml"/>
  <Override PartName="/ppt/notesSlides/notesSlide46.xml" ContentType="application/vnd.openxmlformats-officedocument.presentationml.notesSlide+xml"/>
  <Override PartName="/ppt/charts/chart160.xml" ContentType="application/vnd.openxmlformats-officedocument.drawingml.chart+xml"/>
  <Override PartName="/ppt/tags/tag218.xml" ContentType="application/vnd.openxmlformats-officedocument.presentationml.tags+xml"/>
  <Override PartName="/ppt/notesSlides/notesSlide47.xml" ContentType="application/vnd.openxmlformats-officedocument.presentationml.notesSlide+xml"/>
  <Override PartName="/ppt/charts/chart161.xml" ContentType="application/vnd.openxmlformats-officedocument.drawingml.chart+xml"/>
  <Override PartName="/ppt/tags/tag219.xml" ContentType="application/vnd.openxmlformats-officedocument.presentationml.tags+xml"/>
  <Override PartName="/ppt/notesSlides/notesSlide48.xml" ContentType="application/vnd.openxmlformats-officedocument.presentationml.notesSlide+xml"/>
  <Override PartName="/ppt/charts/chart162.xml" ContentType="application/vnd.openxmlformats-officedocument.drawingml.chart+xml"/>
  <Override PartName="/ppt/tags/tag220.xml" ContentType="application/vnd.openxmlformats-officedocument.presentationml.tags+xml"/>
  <Override PartName="/ppt/notesSlides/notesSlide49.xml" ContentType="application/vnd.openxmlformats-officedocument.presentationml.notesSlide+xml"/>
  <Override PartName="/ppt/charts/chart163.xml" ContentType="application/vnd.openxmlformats-officedocument.drawingml.chart+xml"/>
  <Override PartName="/ppt/tags/tag221.xml" ContentType="application/vnd.openxmlformats-officedocument.presentationml.tags+xml"/>
  <Override PartName="/ppt/notesSlides/notesSlide50.xml" ContentType="application/vnd.openxmlformats-officedocument.presentationml.notesSlide+xml"/>
  <Override PartName="/ppt/charts/chart164.xml" ContentType="application/vnd.openxmlformats-officedocument.drawingml.chart+xml"/>
  <Override PartName="/ppt/tags/tag222.xml" ContentType="application/vnd.openxmlformats-officedocument.presentationml.tags+xml"/>
  <Override PartName="/ppt/notesSlides/notesSlide51.xml" ContentType="application/vnd.openxmlformats-officedocument.presentationml.notesSlide+xml"/>
  <Override PartName="/ppt/charts/chart165.xml" ContentType="application/vnd.openxmlformats-officedocument.drawingml.chart+xml"/>
  <Override PartName="/ppt/tags/tag223.xml" ContentType="application/vnd.openxmlformats-officedocument.presentationml.tags+xml"/>
  <Override PartName="/ppt/charts/chart166.xml" ContentType="application/vnd.openxmlformats-officedocument.drawingml.chart+xml"/>
  <Override PartName="/ppt/tags/tag224.xml" ContentType="application/vnd.openxmlformats-officedocument.presentationml.tags+xml"/>
  <Override PartName="/ppt/charts/chart167.xml" ContentType="application/vnd.openxmlformats-officedocument.drawingml.chart+xml"/>
  <Override PartName="/ppt/tags/tag225.xml" ContentType="application/vnd.openxmlformats-officedocument.presentationml.tags+xml"/>
  <Override PartName="/ppt/charts/chart168.xml" ContentType="application/vnd.openxmlformats-officedocument.drawingml.chart+xml"/>
  <Override PartName="/ppt/tags/tag226.xml" ContentType="application/vnd.openxmlformats-officedocument.presentationml.tags+xml"/>
  <Override PartName="/ppt/charts/chart169.xml" ContentType="application/vnd.openxmlformats-officedocument.drawingml.chart+xml"/>
  <Override PartName="/ppt/tags/tag227.xml" ContentType="application/vnd.openxmlformats-officedocument.presentationml.tags+xml"/>
  <Override PartName="/ppt/charts/chart170.xml" ContentType="application/vnd.openxmlformats-officedocument.drawingml.chart+xml"/>
  <Override PartName="/ppt/tags/tag228.xml" ContentType="application/vnd.openxmlformats-officedocument.presentationml.tags+xml"/>
  <Override PartName="/ppt/charts/chart171.xml" ContentType="application/vnd.openxmlformats-officedocument.drawingml.chart+xml"/>
  <Override PartName="/ppt/tags/tag229.xml" ContentType="application/vnd.openxmlformats-officedocument.presentationml.tags+xml"/>
  <Override PartName="/ppt/charts/chart172.xml" ContentType="application/vnd.openxmlformats-officedocument.drawingml.chart+xml"/>
  <Override PartName="/ppt/tags/tag230.xml" ContentType="application/vnd.openxmlformats-officedocument.presentationml.tags+xml"/>
  <Override PartName="/ppt/charts/chart173.xml" ContentType="application/vnd.openxmlformats-officedocument.drawingml.chart+xml"/>
  <Override PartName="/ppt/tags/tag231.xml" ContentType="application/vnd.openxmlformats-officedocument.presentationml.tags+xml"/>
  <Override PartName="/ppt/charts/chart174.xml" ContentType="application/vnd.openxmlformats-officedocument.drawingml.chart+xml"/>
  <Override PartName="/ppt/tags/tag232.xml" ContentType="application/vnd.openxmlformats-officedocument.presentationml.tags+xml"/>
  <Override PartName="/ppt/charts/chart175.xml" ContentType="application/vnd.openxmlformats-officedocument.drawingml.chart+xml"/>
  <Override PartName="/ppt/tags/tag233.xml" ContentType="application/vnd.openxmlformats-officedocument.presentationml.tags+xml"/>
  <Override PartName="/ppt/charts/chart176.xml" ContentType="application/vnd.openxmlformats-officedocument.drawingml.chart+xml"/>
  <Override PartName="/ppt/tags/tag234.xml" ContentType="application/vnd.openxmlformats-officedocument.presentationml.tags+xml"/>
  <Override PartName="/ppt/charts/chart177.xml" ContentType="application/vnd.openxmlformats-officedocument.drawingml.chart+xml"/>
  <Override PartName="/ppt/tags/tag235.xml" ContentType="application/vnd.openxmlformats-officedocument.presentationml.tags+xml"/>
  <Override PartName="/ppt/charts/chart178.xml" ContentType="application/vnd.openxmlformats-officedocument.drawingml.chart+xml"/>
  <Override PartName="/ppt/tags/tag236.xml" ContentType="application/vnd.openxmlformats-officedocument.presentationml.tags+xml"/>
  <Override PartName="/ppt/charts/chart179.xml" ContentType="application/vnd.openxmlformats-officedocument.drawingml.chart+xml"/>
  <Override PartName="/ppt/tags/tag237.xml" ContentType="application/vnd.openxmlformats-officedocument.presentationml.tags+xml"/>
  <Override PartName="/ppt/charts/chart180.xml" ContentType="application/vnd.openxmlformats-officedocument.drawingml.chart+xml"/>
  <Override PartName="/ppt/tags/tag238.xml" ContentType="application/vnd.openxmlformats-officedocument.presentationml.tags+xml"/>
  <Override PartName="/ppt/charts/chart181.xml" ContentType="application/vnd.openxmlformats-officedocument.drawingml.chart+xml"/>
  <Override PartName="/ppt/tags/tag239.xml" ContentType="application/vnd.openxmlformats-officedocument.presentationml.tags+xml"/>
  <Override PartName="/ppt/charts/chart182.xml" ContentType="application/vnd.openxmlformats-officedocument.drawingml.chart+xml"/>
  <Override PartName="/ppt/tags/tag240.xml" ContentType="application/vnd.openxmlformats-officedocument.presentationml.tags+xml"/>
  <Override PartName="/ppt/charts/chart183.xml" ContentType="application/vnd.openxmlformats-officedocument.drawingml.chart+xml"/>
  <Override PartName="/ppt/tags/tag241.xml" ContentType="application/vnd.openxmlformats-officedocument.presentationml.tags+xml"/>
  <Override PartName="/ppt/charts/chart184.xml" ContentType="application/vnd.openxmlformats-officedocument.drawingml.chart+xml"/>
  <Override PartName="/ppt/tags/tag242.xml" ContentType="application/vnd.openxmlformats-officedocument.presentationml.tags+xml"/>
  <Override PartName="/ppt/charts/chart185.xml" ContentType="application/vnd.openxmlformats-officedocument.drawingml.chart+xml"/>
  <Override PartName="/ppt/tags/tag243.xml" ContentType="application/vnd.openxmlformats-officedocument.presentationml.tags+xml"/>
  <Override PartName="/ppt/charts/chart186.xml" ContentType="application/vnd.openxmlformats-officedocument.drawingml.chart+xml"/>
  <Override PartName="/ppt/tags/tag244.xml" ContentType="application/vnd.openxmlformats-officedocument.presentationml.tags+xml"/>
  <Override PartName="/ppt/charts/chart187.xml" ContentType="application/vnd.openxmlformats-officedocument.drawingml.chart+xml"/>
  <Override PartName="/ppt/tags/tag245.xml" ContentType="application/vnd.openxmlformats-officedocument.presentationml.tags+xml"/>
  <Override PartName="/ppt/charts/chart188.xml" ContentType="application/vnd.openxmlformats-officedocument.drawingml.chart+xml"/>
  <Override PartName="/ppt/tags/tag246.xml" ContentType="application/vnd.openxmlformats-officedocument.presentationml.tags+xml"/>
  <Override PartName="/ppt/charts/chart189.xml" ContentType="application/vnd.openxmlformats-officedocument.drawingml.chart+xml"/>
  <Override PartName="/ppt/tags/tag247.xml" ContentType="application/vnd.openxmlformats-officedocument.presentationml.tags+xml"/>
  <Override PartName="/ppt/charts/chart190.xml" ContentType="application/vnd.openxmlformats-officedocument.drawingml.chart+xml"/>
  <Override PartName="/ppt/tags/tag248.xml" ContentType="application/vnd.openxmlformats-officedocument.presentationml.tags+xml"/>
  <Override PartName="/ppt/charts/chart191.xml" ContentType="application/vnd.openxmlformats-officedocument.drawingml.chart+xml"/>
  <Override PartName="/ppt/tags/tag249.xml" ContentType="application/vnd.openxmlformats-officedocument.presentationml.tags+xml"/>
  <Override PartName="/ppt/charts/chart192.xml" ContentType="application/vnd.openxmlformats-officedocument.drawingml.chart+xml"/>
  <Override PartName="/ppt/tags/tag250.xml" ContentType="application/vnd.openxmlformats-officedocument.presentationml.tags+xml"/>
  <Override PartName="/ppt/charts/chart193.xml" ContentType="application/vnd.openxmlformats-officedocument.drawingml.chart+xml"/>
  <Override PartName="/ppt/tags/tag251.xml" ContentType="application/vnd.openxmlformats-officedocument.presentationml.tags+xml"/>
  <Override PartName="/ppt/charts/chart194.xml" ContentType="application/vnd.openxmlformats-officedocument.drawingml.chart+xml"/>
  <Override PartName="/ppt/tags/tag252.xml" ContentType="application/vnd.openxmlformats-officedocument.presentationml.tags+xml"/>
  <Override PartName="/ppt/charts/chart195.xml" ContentType="application/vnd.openxmlformats-officedocument.drawingml.chart+xml"/>
  <Override PartName="/ppt/tags/tag253.xml" ContentType="application/vnd.openxmlformats-officedocument.presentationml.tags+xml"/>
  <Override PartName="/ppt/charts/chart196.xml" ContentType="application/vnd.openxmlformats-officedocument.drawingml.chart+xml"/>
  <Override PartName="/ppt/tags/tag254.xml" ContentType="application/vnd.openxmlformats-officedocument.presentationml.tags+xml"/>
  <Override PartName="/ppt/charts/chart197.xml" ContentType="application/vnd.openxmlformats-officedocument.drawingml.chart+xml"/>
  <Override PartName="/ppt/tags/tag255.xml" ContentType="application/vnd.openxmlformats-officedocument.presentationml.tags+xml"/>
  <Override PartName="/ppt/charts/chart198.xml" ContentType="application/vnd.openxmlformats-officedocument.drawingml.chart+xml"/>
  <Override PartName="/ppt/tags/tag256.xml" ContentType="application/vnd.openxmlformats-officedocument.presentationml.tags+xml"/>
  <Override PartName="/ppt/charts/chart199.xml" ContentType="application/vnd.openxmlformats-officedocument.drawingml.chart+xml"/>
  <Override PartName="/ppt/tags/tag257.xml" ContentType="application/vnd.openxmlformats-officedocument.presentationml.tags+xml"/>
  <Override PartName="/ppt/charts/chart200.xml" ContentType="application/vnd.openxmlformats-officedocument.drawingml.chart+xml"/>
  <Override PartName="/ppt/tags/tag258.xml" ContentType="application/vnd.openxmlformats-officedocument.presentationml.tags+xml"/>
  <Override PartName="/ppt/charts/chart201.xml" ContentType="application/vnd.openxmlformats-officedocument.drawingml.chart+xml"/>
  <Override PartName="/ppt/tags/tag259.xml" ContentType="application/vnd.openxmlformats-officedocument.presentationml.tags+xml"/>
  <Override PartName="/ppt/charts/chart202.xml" ContentType="application/vnd.openxmlformats-officedocument.drawingml.chart+xml"/>
  <Override PartName="/ppt/tags/tag260.xml" ContentType="application/vnd.openxmlformats-officedocument.presentationml.tags+xml"/>
  <Override PartName="/ppt/charts/chart203.xml" ContentType="application/vnd.openxmlformats-officedocument.drawingml.chart+xml"/>
  <Override PartName="/ppt/tags/tag261.xml" ContentType="application/vnd.openxmlformats-officedocument.presentationml.tags+xml"/>
  <Override PartName="/ppt/charts/chart204.xml" ContentType="application/vnd.openxmlformats-officedocument.drawingml.chart+xml"/>
  <Override PartName="/ppt/tags/tag262.xml" ContentType="application/vnd.openxmlformats-officedocument.presentationml.tags+xml"/>
  <Override PartName="/ppt/charts/chart205.xml" ContentType="application/vnd.openxmlformats-officedocument.drawingml.chart+xml"/>
  <Override PartName="/ppt/tags/tag263.xml" ContentType="application/vnd.openxmlformats-officedocument.presentationml.tags+xml"/>
  <Override PartName="/ppt/charts/chart206.xml" ContentType="application/vnd.openxmlformats-officedocument.drawingml.chart+xml"/>
  <Override PartName="/ppt/tags/tag264.xml" ContentType="application/vnd.openxmlformats-officedocument.presentationml.tags+xml"/>
  <Override PartName="/ppt/charts/chart207.xml" ContentType="application/vnd.openxmlformats-officedocument.drawingml.chart+xml"/>
  <Override PartName="/ppt/tags/tag265.xml" ContentType="application/vnd.openxmlformats-officedocument.presentationml.tags+xml"/>
  <Override PartName="/ppt/charts/chart208.xml" ContentType="application/vnd.openxmlformats-officedocument.drawingml.chart+xml"/>
  <Override PartName="/ppt/tags/tag266.xml" ContentType="application/vnd.openxmlformats-officedocument.presentationml.tags+xml"/>
  <Override PartName="/ppt/charts/chart209.xml" ContentType="application/vnd.openxmlformats-officedocument.drawingml.chart+xml"/>
  <Override PartName="/ppt/tags/tag267.xml" ContentType="application/vnd.openxmlformats-officedocument.presentationml.tags+xml"/>
  <Override PartName="/ppt/charts/chart210.xml" ContentType="application/vnd.openxmlformats-officedocument.drawingml.chart+xml"/>
  <Override PartName="/ppt/tags/tag268.xml" ContentType="application/vnd.openxmlformats-officedocument.presentationml.tags+xml"/>
  <Override PartName="/ppt/charts/chart211.xml" ContentType="application/vnd.openxmlformats-officedocument.drawingml.chart+xml"/>
  <Override PartName="/ppt/tags/tag269.xml" ContentType="application/vnd.openxmlformats-officedocument.presentationml.tags+xml"/>
  <Override PartName="/ppt/charts/chart212.xml" ContentType="application/vnd.openxmlformats-officedocument.drawingml.chart+xml"/>
  <Override PartName="/ppt/tags/tag270.xml" ContentType="application/vnd.openxmlformats-officedocument.presentationml.tags+xml"/>
  <Override PartName="/ppt/charts/chart213.xml" ContentType="application/vnd.openxmlformats-officedocument.drawingml.chart+xml"/>
  <Override PartName="/ppt/tags/tag271.xml" ContentType="application/vnd.openxmlformats-officedocument.presentationml.tags+xml"/>
  <Override PartName="/ppt/charts/chart214.xml" ContentType="application/vnd.openxmlformats-officedocument.drawingml.chart+xml"/>
  <Override PartName="/ppt/tags/tag272.xml" ContentType="application/vnd.openxmlformats-officedocument.presentationml.tags+xml"/>
  <Override PartName="/ppt/charts/chart215.xml" ContentType="application/vnd.openxmlformats-officedocument.drawingml.chart+xml"/>
  <Override PartName="/ppt/tags/tag273.xml" ContentType="application/vnd.openxmlformats-officedocument.presentationml.tags+xml"/>
  <Override PartName="/ppt/charts/chart216.xml" ContentType="application/vnd.openxmlformats-officedocument.drawingml.chart+xml"/>
  <Override PartName="/ppt/tags/tag274.xml" ContentType="application/vnd.openxmlformats-officedocument.presentationml.tags+xml"/>
  <Override PartName="/ppt/notesSlides/notesSlide52.xml" ContentType="application/vnd.openxmlformats-officedocument.presentationml.notesSlide+xml"/>
  <Override PartName="/ppt/tags/tag275.xml" ContentType="application/vnd.openxmlformats-officedocument.presentationml.tags+xml"/>
  <Override PartName="/ppt/notesSlides/notesSlide53.xml" ContentType="application/vnd.openxmlformats-officedocument.presentationml.notesSlide+xml"/>
  <Override PartName="/ppt/tags/tag276.xml" ContentType="application/vnd.openxmlformats-officedocument.presentationml.tags+xml"/>
  <Override PartName="/ppt/notesSlides/notesSlide54.xml" ContentType="application/vnd.openxmlformats-officedocument.presentationml.notesSlide+xml"/>
  <Override PartName="/ppt/tags/tag277.xml" ContentType="application/vnd.openxmlformats-officedocument.presentationml.tags+xml"/>
  <Override PartName="/ppt/notesSlides/notesSlide55.xml" ContentType="application/vnd.openxmlformats-officedocument.presentationml.notesSlide+xml"/>
  <Override PartName="/ppt/tags/tag278.xml" ContentType="application/vnd.openxmlformats-officedocument.presentationml.tags+xml"/>
  <Override PartName="/ppt/notesSlides/notesSlide56.xml" ContentType="application/vnd.openxmlformats-officedocument.presentationml.notesSlide+xml"/>
  <Override PartName="/ppt/tags/tag279.xml" ContentType="application/vnd.openxmlformats-officedocument.presentationml.tags+xml"/>
  <Override PartName="/ppt/notesSlides/notesSlide57.xml" ContentType="application/vnd.openxmlformats-officedocument.presentationml.notesSlide+xml"/>
  <Override PartName="/ppt/tags/tag280.xml" ContentType="application/vnd.openxmlformats-officedocument.presentationml.tags+xml"/>
  <Override PartName="/ppt/notesSlides/notesSlide58.xml" ContentType="application/vnd.openxmlformats-officedocument.presentationml.notesSlide+xml"/>
  <Override PartName="/ppt/tags/tag281.xml" ContentType="application/vnd.openxmlformats-officedocument.presentationml.tags+xml"/>
  <Override PartName="/ppt/notesSlides/notesSlide59.xml" ContentType="application/vnd.openxmlformats-officedocument.presentationml.notesSlide+xml"/>
  <Override PartName="/ppt/tags/tag282.xml" ContentType="application/vnd.openxmlformats-officedocument.presentationml.tags+xml"/>
  <Override PartName="/ppt/notesSlides/notesSlide60.xml" ContentType="application/vnd.openxmlformats-officedocument.presentationml.notesSlide+xml"/>
  <Override PartName="/ppt/tags/tag283.xml" ContentType="application/vnd.openxmlformats-officedocument.presentationml.tags+xml"/>
  <Override PartName="/ppt/notesSlides/notesSlide61.xml" ContentType="application/vnd.openxmlformats-officedocument.presentationml.notesSlide+xml"/>
  <Override PartName="/ppt/tags/tag284.xml" ContentType="application/vnd.openxmlformats-officedocument.presentationml.tags+xml"/>
  <Override PartName="/ppt/notesSlides/notesSlide62.xml" ContentType="application/vnd.openxmlformats-officedocument.presentationml.notesSlide+xml"/>
  <Override PartName="/ppt/tags/tag285.xml" ContentType="application/vnd.openxmlformats-officedocument.presentationml.tags+xml"/>
  <Override PartName="/ppt/notesSlides/notesSlide63.xml" ContentType="application/vnd.openxmlformats-officedocument.presentationml.notesSlide+xml"/>
  <Override PartName="/ppt/tags/tag286.xml" ContentType="application/vnd.openxmlformats-officedocument.presentationml.tags+xml"/>
  <Override PartName="/ppt/notesSlides/notesSlide64.xml" ContentType="application/vnd.openxmlformats-officedocument.presentationml.notesSlide+xml"/>
  <Override PartName="/ppt/tags/tag287.xml" ContentType="application/vnd.openxmlformats-officedocument.presentationml.tags+xml"/>
  <Override PartName="/ppt/notesSlides/notesSlide65.xml" ContentType="application/vnd.openxmlformats-officedocument.presentationml.notesSlide+xml"/>
  <Override PartName="/ppt/tags/tag288.xml" ContentType="application/vnd.openxmlformats-officedocument.presentationml.tags+xml"/>
  <Override PartName="/ppt/notesSlides/notesSlide66.xml" ContentType="application/vnd.openxmlformats-officedocument.presentationml.notesSlide+xml"/>
  <Override PartName="/ppt/tags/tag289.xml" ContentType="application/vnd.openxmlformats-officedocument.presentationml.tags+xml"/>
  <Override PartName="/ppt/notesSlides/notesSlide67.xml" ContentType="application/vnd.openxmlformats-officedocument.presentationml.notesSlide+xml"/>
  <Override PartName="/ppt/tags/tag290.xml" ContentType="application/vnd.openxmlformats-officedocument.presentationml.tags+xml"/>
  <Override PartName="/ppt/notesSlides/notesSlide68.xml" ContentType="application/vnd.openxmlformats-officedocument.presentationml.notesSlide+xml"/>
  <Override PartName="/ppt/tags/tag291.xml" ContentType="application/vnd.openxmlformats-officedocument.presentationml.tags+xml"/>
  <Override PartName="/ppt/notesSlides/notesSlide69.xml" ContentType="application/vnd.openxmlformats-officedocument.presentationml.notesSlide+xml"/>
  <Override PartName="/ppt/tags/tag292.xml" ContentType="application/vnd.openxmlformats-officedocument.presentationml.tags+xml"/>
  <Override PartName="/ppt/charts/chart217.xml" ContentType="application/vnd.openxmlformats-officedocument.drawingml.chart+xml"/>
  <Override PartName="/ppt/tags/tag293.xml" ContentType="application/vnd.openxmlformats-officedocument.presentationml.tags+xml"/>
  <Override PartName="/ppt/charts/chart218.xml" ContentType="application/vnd.openxmlformats-officedocument.drawingml.chart+xml"/>
  <Override PartName="/ppt/tags/tag294.xml" ContentType="application/vnd.openxmlformats-officedocument.presentationml.tags+xml"/>
  <Override PartName="/ppt/charts/chart219.xml" ContentType="application/vnd.openxmlformats-officedocument.drawingml.chart+xml"/>
  <Override PartName="/ppt/tags/tag295.xml" ContentType="application/vnd.openxmlformats-officedocument.presentationml.tags+xml"/>
  <Override PartName="/ppt/charts/chart220.xml" ContentType="application/vnd.openxmlformats-officedocument.drawingml.chart+xml"/>
  <Override PartName="/ppt/tags/tag296.xml" ContentType="application/vnd.openxmlformats-officedocument.presentationml.tags+xml"/>
  <Override PartName="/ppt/charts/chart221.xml" ContentType="application/vnd.openxmlformats-officedocument.drawingml.chart+xml"/>
  <Override PartName="/ppt/tags/tag297.xml" ContentType="application/vnd.openxmlformats-officedocument.presentationml.tags+xml"/>
  <Override PartName="/ppt/charts/chart222.xml" ContentType="application/vnd.openxmlformats-officedocument.drawingml.chart+xml"/>
  <Override PartName="/ppt/tags/tag298.xml" ContentType="application/vnd.openxmlformats-officedocument.presentationml.tags+xml"/>
  <Override PartName="/ppt/charts/chart223.xml" ContentType="application/vnd.openxmlformats-officedocument.drawingml.chart+xml"/>
  <Override PartName="/ppt/tags/tag299.xml" ContentType="application/vnd.openxmlformats-officedocument.presentationml.tags+xml"/>
  <Override PartName="/ppt/charts/chart224.xml" ContentType="application/vnd.openxmlformats-officedocument.drawingml.chart+xml"/>
  <Override PartName="/ppt/tags/tag300.xml" ContentType="application/vnd.openxmlformats-officedocument.presentationml.tags+xml"/>
  <Override PartName="/ppt/charts/chart225.xml" ContentType="application/vnd.openxmlformats-officedocument.drawingml.chart+xml"/>
  <Override PartName="/ppt/tags/tag301.xml" ContentType="application/vnd.openxmlformats-officedocument.presentationml.tags+xml"/>
  <Override PartName="/ppt/charts/chart226.xml" ContentType="application/vnd.openxmlformats-officedocument.drawingml.chart+xml"/>
  <Override PartName="/ppt/tags/tag302.xml" ContentType="application/vnd.openxmlformats-officedocument.presentationml.tags+xml"/>
  <Override PartName="/ppt/charts/chart227.xml" ContentType="application/vnd.openxmlformats-officedocument.drawingml.chart+xml"/>
  <Override PartName="/ppt/tags/tag303.xml" ContentType="application/vnd.openxmlformats-officedocument.presentationml.tags+xml"/>
  <Override PartName="/ppt/charts/chart228.xml" ContentType="application/vnd.openxmlformats-officedocument.drawingml.chart+xml"/>
  <Override PartName="/ppt/tags/tag304.xml" ContentType="application/vnd.openxmlformats-officedocument.presentationml.tags+xml"/>
  <Override PartName="/ppt/charts/chart229.xml" ContentType="application/vnd.openxmlformats-officedocument.drawingml.chart+xml"/>
  <Override PartName="/ppt/tags/tag305.xml" ContentType="application/vnd.openxmlformats-officedocument.presentationml.tags+xml"/>
  <Override PartName="/ppt/charts/chart230.xml" ContentType="application/vnd.openxmlformats-officedocument.drawingml.chart+xml"/>
  <Override PartName="/ppt/tags/tag306.xml" ContentType="application/vnd.openxmlformats-officedocument.presentationml.tags+xml"/>
  <Override PartName="/ppt/charts/chart231.xml" ContentType="application/vnd.openxmlformats-officedocument.drawingml.chart+xml"/>
  <Override PartName="/ppt/tags/tag307.xml" ContentType="application/vnd.openxmlformats-officedocument.presentationml.tags+xml"/>
  <Override PartName="/ppt/charts/chart232.xml" ContentType="application/vnd.openxmlformats-officedocument.drawingml.chart+xml"/>
  <Override PartName="/ppt/tags/tag308.xml" ContentType="application/vnd.openxmlformats-officedocument.presentationml.tags+xml"/>
  <Override PartName="/ppt/charts/chart233.xml" ContentType="application/vnd.openxmlformats-officedocument.drawingml.chart+xml"/>
  <Override PartName="/ppt/tags/tag309.xml" ContentType="application/vnd.openxmlformats-officedocument.presentationml.tags+xml"/>
  <Override PartName="/ppt/charts/chart234.xml" ContentType="application/vnd.openxmlformats-officedocument.drawingml.chart+xml"/>
  <Override PartName="/ppt/tags/tag310.xml" ContentType="application/vnd.openxmlformats-officedocument.presentationml.tags+xml"/>
  <Override PartName="/ppt/charts/chart235.xml" ContentType="application/vnd.openxmlformats-officedocument.drawingml.chart+xml"/>
  <Override PartName="/ppt/tags/tag311.xml" ContentType="application/vnd.openxmlformats-officedocument.presentationml.tags+xml"/>
  <Override PartName="/ppt/charts/chart236.xml" ContentType="application/vnd.openxmlformats-officedocument.drawingml.chart+xml"/>
  <Override PartName="/ppt/tags/tag312.xml" ContentType="application/vnd.openxmlformats-officedocument.presentationml.tags+xml"/>
  <Override PartName="/ppt/charts/chart237.xml" ContentType="application/vnd.openxmlformats-officedocument.drawingml.chart+xml"/>
  <Override PartName="/ppt/tags/tag313.xml" ContentType="application/vnd.openxmlformats-officedocument.presentationml.tags+xml"/>
  <Override PartName="/ppt/charts/chart238.xml" ContentType="application/vnd.openxmlformats-officedocument.drawingml.chart+xml"/>
  <Override PartName="/ppt/tags/tag314.xml" ContentType="application/vnd.openxmlformats-officedocument.presentationml.tags+xml"/>
  <Override PartName="/ppt/charts/chart239.xml" ContentType="application/vnd.openxmlformats-officedocument.drawingml.chart+xml"/>
  <Override PartName="/ppt/tags/tag315.xml" ContentType="application/vnd.openxmlformats-officedocument.presentationml.tags+xml"/>
  <Override PartName="/ppt/charts/chart240.xml" ContentType="application/vnd.openxmlformats-officedocument.drawingml.chart+xml"/>
  <Override PartName="/ppt/tags/tag316.xml" ContentType="application/vnd.openxmlformats-officedocument.presentationml.tags+xml"/>
  <Override PartName="/ppt/charts/chart241.xml" ContentType="application/vnd.openxmlformats-officedocument.drawingml.chart+xml"/>
  <Override PartName="/ppt/tags/tag317.xml" ContentType="application/vnd.openxmlformats-officedocument.presentationml.tags+xml"/>
  <Override PartName="/ppt/charts/chart242.xml" ContentType="application/vnd.openxmlformats-officedocument.drawingml.chart+xml"/>
  <Override PartName="/ppt/tags/tag318.xml" ContentType="application/vnd.openxmlformats-officedocument.presentationml.tags+xml"/>
  <Override PartName="/ppt/charts/chart243.xml" ContentType="application/vnd.openxmlformats-officedocument.drawingml.chart+xml"/>
  <Override PartName="/ppt/tags/tag319.xml" ContentType="application/vnd.openxmlformats-officedocument.presentationml.tags+xml"/>
  <Override PartName="/ppt/charts/chart244.xml" ContentType="application/vnd.openxmlformats-officedocument.drawingml.chart+xml"/>
  <Override PartName="/ppt/tags/tag320.xml" ContentType="application/vnd.openxmlformats-officedocument.presentationml.tags+xml"/>
  <Override PartName="/ppt/charts/chart245.xml" ContentType="application/vnd.openxmlformats-officedocument.drawingml.chart+xml"/>
  <Override PartName="/ppt/tags/tag321.xml" ContentType="application/vnd.openxmlformats-officedocument.presentationml.tags+xml"/>
  <Override PartName="/ppt/charts/chart24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299"/>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E5A93EF3-DCDB-4FB6-B78B-CFB2378DBD2A}">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 name="SKU Share by Manuf" id="{F450D089-D91C-49AF-92B4-671ABDFD8D5A}">
          <p14:sldIdLst>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Lst>
        </p14:section>
        <p14:section name="Cumulative Product Shares" id="{CD35D195-780F-4323-B0EA-C2A4D65AEB60}">
          <p14:sldIdLst>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Lst>
        </p14:section>
        <p14:section name="Brand Cumulative Product Share" id="{E48C8B66-EB86-4148-A5F5-9B554494D23D}">
          <p14:sldIdLst>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Lst>
        </p14:section>
        <p14:section name="Top 20 cumulative share" id="{B5233D16-EAB3-49A2-A1DE-8D7ED893F65A}">
          <p14:sldIdLst>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Lst>
        </p14:section>
        <p14:section name="SKU Productivity Analysis with TM%" id="{B121B5CA-CB7F-41BF-80A7-541F70804A2B}">
          <p14:sldIdLst>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Lst>
        </p14:section>
        <p14:section name="SKU Productivity Analysis with WD" id="{69929194-15BC-4BFE-A67C-EAEDF825707F}">
          <p14:sldIdLst>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Lst>
        </p14:section>
        <p14:section name="Sectors Fair Share" id="{831319F7-616A-44BB-B786-66072B05F1D9}">
          <p14:sldIdLst>
            <p14:sldId id="2147475415"/>
            <p14:sldId id="2147475416"/>
            <p14:sldId id="2147475417"/>
            <p14:sldId id="2147475418"/>
            <p14:sldId id="2147475419"/>
            <p14:sldId id="2147475420"/>
            <p14:sldId id="2147475421"/>
            <p14:sldId id="2147475422"/>
            <p14:sldId id="2147475423"/>
          </p14:sldIdLst>
        </p14:section>
        <p14:section name="Segments Fair Share" id="{BB811FCB-F193-4E34-A779-7C84A4F97D7A}">
          <p14:sldIdLst>
            <p14:sldId id="2147475424"/>
            <p14:sldId id="2147475425"/>
            <p14:sldId id="2147475426"/>
            <p14:sldId id="2147475427"/>
            <p14:sldId id="2147475428"/>
            <p14:sldId id="2147475429"/>
            <p14:sldId id="2147475430"/>
            <p14:sldId id="2147475431"/>
            <p14:sldId id="2147475432"/>
          </p14:sldIdLst>
        </p14:section>
        <p14:section name="SKU Share By Brand no client prio" id="{63A9DA8B-1199-4D2A-84DB-A300F7785462}">
          <p14:sldIdLst>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82" d="100"/>
          <a:sy n="82" d="100"/>
        </p:scale>
        <p:origin x="1195" y="67"/>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notesMaster" Target="notesMasters/notesMaster1.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microsoft.com/office/2015/10/relationships/revisionInfo" Target="revisionInfo.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291" Type="http://schemas.openxmlformats.org/officeDocument/2006/relationships/slide" Target="slides/slide287.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281" Type="http://schemas.openxmlformats.org/officeDocument/2006/relationships/slide" Target="slides/slide277.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92" Type="http://schemas.openxmlformats.org/officeDocument/2006/relationships/slide" Target="slides/slide288.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presProps" Target="presProps.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303" Type="http://schemas.openxmlformats.org/officeDocument/2006/relationships/tableStyles" Target="tableStyles.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70B9825-0C3F-491D-8345-ADD26FC06CE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9A92604-4F9C-4DFE-86E5-132821E0DC7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22000DB-C674-434F-B936-1429418FC23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4993C9D-F3EB-4E8A-8ED8-4D90C03D6C0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935DBC7-0C7B-4A1C-BFC4-21DA5BDADB2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06C69F2-A453-49A9-9A6D-39AF3CDC6ED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88237B9-DA98-4410-90A2-CFD168D195B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C970D6E-76B0-4ED0-B780-0708228218E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6266E2F-00F6-4520-8F35-F4B7FEDA3B8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76C09DA-87E2-4146-9F75-F87D2692605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7678B29-C1AA-44ED-A182-53234223B63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0BABD1F-96AA-4CAB-BB24-FCC9B8CF70E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7433A55-5735-45AE-9ED1-18650884FB4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2FDFD72-05F6-4030-A61F-62602E00914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2382EE1-242B-44B5-AA6E-AC72EF3011E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8D47B90-E0A0-4328-B8C4-7A48F1AC096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EAA5BA5-312A-4C04-ADB2-27C6DEC4743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7A49243-C05A-4F7B-8A41-636DCB94325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667527A-B5E4-40C2-AFD7-0458848322D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C08BB29-72E6-4528-953E-7C5DAE80FB4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314711B-6BC7-47F8-AF19-C382E6AB2C3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1C56719-2F2B-46D4-B187-A491DAEFF20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1D26E2B-5656-46ED-87FC-35EA16D466D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A399372-240A-4770-BCAD-9BA6617D6BA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4A9FCC1-8A79-4E5A-9756-2F8C930B383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77CBE8B-790C-47BF-9FAB-39EC7BAD1F0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3242E14-D15C-43E3-9033-91D163E342C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14824EB-D3E5-4205-B0E9-097B4E99618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5B0D2C5-FF34-4ED5-B236-81D5824FF27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412CF26-B5F2-42A2-9BDE-43AAD5E5103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1362285-F1D4-41C1-9280-36891F3B52B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1D6F293-8555-4E84-8044-1425858D9B7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102422F-6971-44FB-8FB7-ABA79D471A0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F9D38E3-CD16-448D-860D-F9A244D27A6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5FB4C29-C715-47AB-8D5B-D93AFE234FA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9F50AF7-1CF5-4F67-872F-A0CF8380045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0AEE6F6-7684-4842-9FF5-6A0FF40CA5F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4D5851A-23AB-43EF-8235-CE522C03406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A6FF64A-7C93-4EFC-BDF6-1E66272D177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C87FFBB-0E5D-475C-88E7-1B46C5C882B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6765A4B-B394-475A-808C-0D5B52756B6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C5E4BFA-54C3-40D6-8727-A0CBD80756A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6CFDE73-0509-4706-BE1A-91EB535BF48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797AAD3-CDAE-4134-BF69-795A6BF9136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2D70022-4665-43CF-AAB1-E8C55A91D99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64BB182-9CC0-444A-9751-D56DE7F2031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738FC4A-17B2-4EB4-A171-6E8CE9F96F8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83DC6C4-B9A1-4A1E-A417-2588D3CDBBE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7D59177-A907-458D-AC55-7BA1FAC7C5F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6F5B62F-04B3-47FE-BA2B-0BC91405F90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CBBE614-DC4B-4AB4-99DC-F01BF4E2A2A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D7FD445-61ED-48CB-8B5A-6F0558E05FB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5B59AF9-DDDD-432B-9077-A199E0C476C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A727864-F004-4E7C-B4B2-8D62153FDBB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AF8E96A-7924-4A91-9345-6C1E599B535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DBE8235-0FC4-4F9C-84F8-DAE4D6570F3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1D9CF9D-C973-470B-9AA8-9002E528DD2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2C7C750-0887-417D-9B60-8DA1B4A681C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240C612-670F-46DD-860E-DBAEDF14328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B7D6886-18CA-4674-9CF9-EABEDF05FD3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91F5293-40CC-4765-899C-88102092C84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1468EFA-A984-46D0-AD64-89F83724A37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6F518C1-3D6E-476D-A3BF-93D576C9A6C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8C8A394-36D2-43B7-8D72-C67C69C9DDB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CC0802E-0118-4AC2-ADA4-9D6389D117F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270F277-E28C-493C-B596-D6681562D20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571B0DA-F958-4BF5-8F54-53E25DE87BE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8FD1C47-85FE-4475-9C27-2DEE9AC28CF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79B9308-A83B-4AD0-9AB8-E8409EEC7F2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46406F8-CFED-41F7-AF72-535B9E6151E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B69EF76-5B56-4D4A-9C9A-059CFCB20B2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93AB12D-E20D-4B52-B3D7-14C648E2E99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7BF84C-5320-46B1-9B86-481D7476DBC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4767043-839D-4B38-BB27-AFE07800D1F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31D9982-7182-457B-A831-47D22AE587D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D3B18D9-CC6D-4BC9-808A-0B22ABB0DE3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E32BEE7-E8CA-4B13-B4E8-1A279FAB98B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E023B08-2D5B-40C9-8810-22BC2E39872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23EAE9D-9640-4AED-8306-119054CEF51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C6CB185-569B-4165-AF48-2F7180DFC38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B5F6DA2-6425-49D7-AB81-B0C5CA1EA2A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2E72018-69F2-4344-8BA3-E0FA2A8092D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D27C7B2-E5E8-456C-98D7-9E182F805A5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A3DACC4-B239-4822-8368-3D73D71A68C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3560134-E32D-4E61-B7F1-E5CFFD452DD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84F5DE6-3815-498A-B1CE-A463FCA729B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C7166A9-7458-4980-9574-3D3FE79CEC2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7A596DD-D352-410C-90FF-D8551F0DA68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20EC802-C2AF-4207-88EA-4CB464A6270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9A72604-480C-4821-B5C3-D0467B1CBCA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3B94956-2C7F-401D-A965-697E89022FE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BD8CF23-D39F-43AD-9AA1-168D6C7C322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655B2ED-6108-4140-B830-0D70A1D22BF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BD9FC0A-1F9D-4580-893F-BE17137A7F0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287410C-2BCA-478B-8CFE-77AA8DACE53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C17927-CAA5-403F-AC50-2A1261944D8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D387FC4-76C4-4CF9-A1E6-2F9A4EB99A0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E8C3F79-C1B8-43AC-8FC9-D43247CB64A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740FFE3-7875-4CA2-8DE2-E3A7A9EEFC3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42A0290-C59E-444D-8EF1-ABECD93219C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4A0C8DB-A7D5-4EE2-A40E-ADA15B49E83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0CA0ED8-EE67-4103-9F20-B20C8A4F3C0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B6C9A6E-DCEE-437B-9DC7-B892BAE9DA6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9D5ED0F-5C9E-4EAF-B4D0-D4FF30972E1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CADAF1F-5FC8-4002-9175-75617925FA0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CCBA4B1-2CCE-4BD2-9058-A743E45C807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2C66EBE-ED36-4DB1-ABB4-9E45E070C48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A3289C4-7DD4-43F5-BC52-D9C47D60396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1CA7660-F0AD-44D9-A877-1B9BBF444C8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6ACE42C-61A7-4155-886E-FCE0B2535A2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38C6A42-CA0B-42E4-9E32-AB858BC89B1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1B60EFE-FC63-4A0D-A9EC-E38B5557A13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3972196-694C-4E4F-A560-76FD3563B0D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C7AC7D4-FE86-4D12-AE12-D07CCCB14A0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FEB0953-FC07-4CFE-BAC6-D4AA58AD90C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FD17EE4-57F1-4B1F-B102-2D8A74B5212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11EC9A8-A770-46F6-8452-7E3202D8E15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D6C8C63-52E0-4327-A491-A744A274908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1D479FB-9319-4EC0-8844-B094D313EC4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BF46CD2-9474-4C1C-B725-748B8121B7A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F0E4AC3-F65C-4432-A8CC-86EBD6863EE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19026D1-7B2C-4B35-8E19-62927BBE25C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81458CD-909C-4A6D-B74F-7FDABA300B3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AD2E65A-795D-460F-A1AF-F0F2C8438C9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B9A3EC3-8D04-41FB-A243-A3B888C914D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11C8BAE-0D4B-41B6-AEA1-D753C9C9004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73792A1-4BAB-43A4-9E98-F9DB0071062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132E850-AED9-4FF2-8826-9DEB489C27E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3785DC1-5372-4389-97ED-BB3AD289F66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58A260C-605F-477D-BF94-32C340911AD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C6AD5D0-A34A-4EAD-843B-8424B6C778F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55C7A14-D33B-4AFA-997F-AE28DC96DC9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BF0146B-D912-4F95-B95C-AB073EDC4D0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8AD611C-F43B-414F-A075-B2A94F3BA6C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E49B89E-9B5A-4819-93DA-0C929EC7A20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AEB4754-DE38-4041-80C7-ACADE1C5B6F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2EB2E85-A5B4-4B0C-B857-9A53B59D416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A706C4F-FA43-49E1-9F30-A4E51C9895B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C3F5AA6-9054-45EB-976A-AAAC2F45435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48C0264-BF8A-4B51-9AF4-BCAFC69B784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BB32E9C-5A61-4B4B-ABD0-4683070E573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31682B2-452D-4E2A-B830-D382572CBF3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02594DE-A19D-45F3-9865-02E71E056A7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3A11C46-99CB-494E-AF40-BA363FDA2C0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4F171D3-B733-4FF1-8778-652D49B13B1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7515677-4CCE-4373-9DF3-0E8F0BAAF46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FF3BCE1-785F-485A-8548-2509EECCB86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187667E-AB20-4C10-9293-BF222E0E748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9D542FD-F53E-4DFF-ABAC-398A01F7AAF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3DAA733-0293-43EC-9AC4-8F3A9638B6C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7C78593-ED2F-4708-B987-CCF1336D417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BB273EE-4AB7-42E8-AF17-B19AA19B1DC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7197631-95AC-46AE-81FE-3989F1A4F95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E43F9B2-4AEA-44C5-8F11-78995F91434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222422D-A844-4B96-8E79-0075D16EE64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3EA7D39-C93E-4DB7-B2F5-E35B14504B7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8E8564E-F5C7-435C-B739-DFAB7197B2E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49785CB-5BD5-400C-B252-FA9D9C42198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13A1BCB-8EA5-40FA-8A7F-2F85F0261F7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B6E6075-27F9-4187-ADF3-40C2AF7DD4F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94DA282-C106-476B-9E8B-00B4E1E71F6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EFD5113-D8D6-4C0B-8386-52D8B1C5144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9822C2B-7CB5-4B89-A237-ED0C330782D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5B20CBA-FD84-4DEF-98C0-3274F5F3B30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C9661D5-8E8F-4613-82A1-2B3D713F4B6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201E7CA-4C68-46F7-A1D1-4B28A186F72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AEA836F-4EFF-4789-A00C-35999B3E962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8E34EDC-CDE2-43CA-93F3-9799C370FAD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0DAD2D6-91A5-4807-B49D-61C6D38FD37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B90322-BE28-4DF4-A5C2-153FEE4710C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C0B8997-A997-4CD3-AD53-CFFFD83A5EE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E1C5BE5-99BC-4F54-82EC-F6B5BADFDFD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7D52CA4-F90D-4103-B8CB-BAE232682FB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D83C927-E2E7-456A-AB37-912E390F4AC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8A00D3E-D1C6-4FF8-B40F-94601025DCE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7523291-C377-400E-90FE-93E1070EEA9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E22462E-F088-4982-8547-6B191036552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EB8BAF0-0A7B-4790-BC0B-5C7D9805AAE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0194E0B-FFC0-4EC3-842F-BF7AB15C90B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A0E6DCC-E1BA-412A-99B2-1CD3558E800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0A81A14-D69F-4E0E-87CA-4609CB068EB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7FB3EC1-1066-4315-92C4-015C699C871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51E60B3-E16E-4C15-AF8A-CABDC292997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50E04F1-2797-452D-A9EF-0281C8D04E6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C69F17B-60B4-40A0-9253-D1DB1D54F99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62BE01A-1FC4-425F-B8AE-E45A030A4E8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1A9BFB3-5B3E-4DB8-9A1F-D958AF08881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29DB61E-E566-4D49-9862-8B0F78D6C71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9BBF973-0271-4FB9-BC69-A72A60B8FC7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3F1F9D2-839B-4EB8-B3A2-AC43554E2AE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1489052-C3FA-4160-8974-88D6D20B35E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2F6396C-EE3A-48E9-9F2C-8907E7650CD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AD68ACB-58BB-4BF0-AE92-25CF031B020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BE79228-C342-4D6E-A4DB-48F8698F1B2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3E5F0A9-6D33-4413-A318-033C03167C7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70FF6CB-9901-4921-B0C1-0267468EB4F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E51D6BB-4041-4CF1-A63A-F17BBBFD0BD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B1F81BD-5256-4A60-AF88-0310B57CD53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6ECC051-A334-4C6D-94D4-8E9351BC82C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953D49C-A1B1-41D9-B853-3816A5A8F42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E303F78-D980-41B4-A1F1-ED91B615D8A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1F3992F-2E99-49C3-A61F-A3DE324A51A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3D96B71-D0F9-47BF-88AC-E8F17B21AE6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0F1C6B0-FF20-4AB0-B93B-E2080804CE5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9574ED8-9B46-4867-B597-BD86274E8E4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0AE057F-DBFF-4D1C-AC0C-7B2F19ED6AE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683ACA8-82BB-480D-B7C2-71662DAA6EB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029275F-4DC5-446B-9250-3FBB7E44D79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BF6E680-CA70-466F-8A1A-DD170E772F0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1E30EA1-9845-4A44-B543-F2BFA04DDB1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0027EE8-A549-48A6-84BF-B1380471EAF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70CDB02-A6F3-4F8C-B102-2F9B94C4779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3647488-2112-4D3E-893E-3387D03F850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432C6F3-9762-4F57-A4ED-F1C2011BED3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AC09C62-20EC-44D8-934D-F4BA0704219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FE396F4-AC27-4794-9129-5CD4C204827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3A0757E-459D-477C-998C-E28F9F3982B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7D82F3F-A18F-467C-B3C6-BD21FCDBED0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5E7A1C1-880C-4814-9BF7-FA6FAFFAEE9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3668F1B-0F4E-4E75-B72C-80F4D9A3A05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03D71B6-C35B-429C-8167-77DAFD58EE9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1C24FFF-F16F-4916-94D4-4F5567A3AC3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2340FDE-E6BE-4C6C-9D7E-5CA0746EEC2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A2F2FFB-726A-4F5C-8123-48889D16A2E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D9A73B8-6184-48B2-80A9-A6EC813CB44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7F45ACA-7F92-48CB-836C-45EC6AE9054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5FC3097-8CD4-46A4-AFBD-4F150D0EC58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F00F6A5-D942-4C31-AA52-9BFF0579C6A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E7DDF59-9F99-4054-B928-3456C86BB5A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6D02E12-4ED5-4E50-8379-2F90A4B3075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E621D47-BC86-4215-8542-859C530890B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BC7165C-9F2E-4C2A-AEB5-7EECDF7E62C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78A340E-EEAD-43BF-9BAE-779F8E173E1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83D86FA-D46D-480B-9FC5-9BA5337DE0A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A457CD2-A416-4C89-8DB3-FC2EA53771E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58F5939-9E9E-4563-801D-1758AA7C3C7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F93495C-B9CE-4AB3-B43C-849C7132541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97610C8-E1B7-4E03-94D6-B29DF3CE25F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4C56703-E672-4546-B8E2-3ED8ABD9FE6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D30EA14-7439-4DAC-A283-861A777984A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D974BC8-8F57-4532-B029-CB36EB7DE48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67E29F3-AB42-46C3-BC29-109F35105DF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48FD9A4-9696-45E4-A08D-B4A6A826103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FD2BB9A-FABE-4F77-AF55-BE596C4A1EC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B5CA4EC-2E26-4C30-A4F5-3CF66D0C467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86395AE-50D2-45DE-9B5B-1556621F2EF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E6EAB3F-B7F5-4568-B363-FEE891CD0D0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DD920FB-9B34-4D7B-A5A8-A281B350D5D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898BDDF-1613-42F7-BFF2-D7486C62BE7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5B26382-1F5B-42B5-97B0-64569CF102A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020AB84-B45F-4A07-B3F5-9A9796A24F7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80A5B0A-6AEC-4C9C-82EF-6ACCD4285FA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ECCEAF6-83FC-4C35-BB68-22589AD8249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9AA9F2A-DC82-441D-BF5A-B400E1B5D78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A77C825-E4DE-4A8F-A083-49834B21153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6CE1C01-FE85-4397-BA26-A73DEF477FC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210BDCE-C52A-4F3F-8E4E-E206446B791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2F3603F-9C0F-4DFE-853A-35769335FFA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546002C-61F4-467D-B89C-953CDDBCDFA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AC1EAB8-0069-4198-8B34-489F1D16F23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09C4BAA-C694-48EA-B07C-F691241CF68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645B7A8-CF55-44D9-B589-A7851988AFA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935978C-60DF-4D2A-A5FD-1C77F4A3C3C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3859C92-AEC2-45E3-8568-27775787E16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2BF4891-3414-4FFD-AAC3-B7DE97BC02A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972E0D3-A6E1-4C6F-9037-593AB2C0EA7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769A1B3-CA67-40D7-87B3-BB7EFD0CDCA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0750B64-2072-4BF9-82D5-81BF688151B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8717805-488A-4C44-BB38-F662BB2B650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BA73076-15A2-449C-AF06-5B7F941AD2D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077F284-B9CE-402F-A934-842444D3A68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E3903C5-9011-44FB-88BC-5203B0217AA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2C924D8-7E05-4414-AE37-9A8BC20A5A9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CDC5321-D8D3-415D-B93F-385128BBC51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909626D-5457-4F90-8027-F9DD7C683D4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A80E0E1-67DC-40A2-87E4-5277B270403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4D4E34-CF7E-4751-B690-059589B0C1C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4A3765A-F06E-4644-9824-7A99C0286F9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C669DE3-A029-4287-9689-4FDC2C89B8D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03C02BD-70A7-4D06-A6C4-DB75DB95873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8B36471-2D38-48B3-97A7-A1B6F0DF421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1578030-F309-421B-8B8A-F0143C40415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2DD7940-CD54-4756-9D27-ECA5411636E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8E34658-831F-4773-A50A-191B4AC179A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2769969-C4AB-4F3A-A3A8-23F3E60FB9C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6AF4719-2189-4115-A422-82E6D357DF0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847D861-5534-4C45-9DC4-CD42FCCBD1B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1692AB7-8375-4F3E-AA34-C9D9AD2CD1A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66303C6-CCFA-444D-8B27-5206D1F0B58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FCBBB5E-11ED-4DA5-AAC0-3D2AB68A847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8071947-C498-44D1-817C-82092133470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8839132-21C6-4523-B22E-DBF926870F5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C1ED7FD-52B2-4D54-BDDE-3D06F5AFEE9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15C291A-C7EC-4BC4-99E7-A6F030B664C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613D4E8-AAB4-4458-BAAC-F7D31BC3FDD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D27610C-5F91-4E25-8069-64E456D1162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AACFBC7-5B8B-4983-91C9-CB9F1D7A824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1893B8A-5213-4433-963A-284BD10EA6F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6D42DEE-07AC-495F-9A52-436A310F6EE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C0C5064-B88E-4269-8368-C68D7F9C560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6B83E1F-5153-430B-9BC4-A5A3B9ECE37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0812E1D-4DD3-470B-9E01-2DD4B2AEA8F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27198B6-F055-4573-82CD-876B2E36F99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F609F63-1A85-4F06-923F-5CCC7B1E37B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DAB7751-7303-4974-BF0E-EA0F392F977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73928DC-3FF3-4038-A413-76196D368A5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F934FEE-B12F-4FE9-983F-8A80F537BEF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E6DCDF5-13BF-42BF-9CCF-874FAD4A1C8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A73A55C-2F08-4435-A284-DCA138C03CB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4218A93-71C0-49F0-B298-874342F4ABF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FAC6B94-6785-4AE3-8920-54FF8A451BE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5D6844C-A71F-4E23-8BC0-A4288D2A0FB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6405760-FFAA-429F-927D-8C842D51B54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8B5AFD3-47DB-47A3-94BB-4E990761A50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62EA7AA-E174-41B6-AB97-68746287979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6654E03-3E75-4FFF-BCBC-95E06512E4D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BF779E3-1A05-4FF1-BD7E-35A018FF7C0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36DC006-D54F-439B-8BE9-60A1BF82ECE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07D0A59-5F04-49F4-9E11-1FDA03B1227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F50113E-F4F1-4E30-AF20-31C0C3EE5BF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AF0242-C778-4F12-BDF6-CA12C1E11A2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B36D873-2B82-4B77-8A20-530EF222839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C5CC6C6-8AC6-4859-98CD-FB2F4091E76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D198776-783F-4607-AF28-F40B4E81857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A1E0F7-C73F-4DC6-9D1B-5A60CB2354B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3D28B29-E656-4179-A8E1-FA309FAB249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BEBA582-C913-4232-97F3-E8CB6D67BE8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863E3BD-807C-4273-98B9-CBD3A3E41C6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BAE81D4-8974-4D08-9B7B-3B1927FF6DC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0FE0B32-DD84-4EB7-91DD-30D273A303D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5113B80-86E2-4B9B-B755-7D13373D75A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E54E0EB-B1D0-406C-9EF7-68993026A31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BBAF77B-4891-4BA5-85F9-693D18AE5CD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A8817D4-3EF0-467C-9492-BF103ECD6F8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3BBCCC2-9999-4317-8027-B3B00890AD8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D2447E3-4771-4AF0-852C-E3D3FABC8AC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8493E4A-B827-4E0C-94B6-1629AC111F3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7168787-00BE-4324-A9BE-0EE3CF3A393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9E46B2B-B711-48A4-8DE6-165525933FD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49FEF0D-B4AC-43F3-B744-8928A5ED2F7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1BCD2C0-44DF-4F74-9709-6A0FC23C4B8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C4D4B3D-8117-4B77-BE3B-6E149FFDE54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DF7181E-E423-42E8-A09D-E353EE30A5B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C8E2D73-474B-4641-89AF-3BE5ACDBB22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579D179-9DF9-41DB-B732-134DD8C8AFC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88A0A63-7382-41BB-96EA-A099433DDE9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B528806-E93B-4E99-8BCC-7E3A994226D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321F99E-8029-4E95-8352-C1AA7FF9124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5D7A727-B086-4AE9-A85B-BFFCC722096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7A9D024-AA29-4CEA-A650-E5E0B773A8D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27CCCB-C3DD-49F3-A825-FC2A5F608F3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8C93094-A924-4C7D-877A-A1AD8BA6E20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8972025-CDA2-49A4-A59E-DA80F30C442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8ECAE80-382D-40AD-98D1-D82BC946188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E21DCC8-8654-4D0C-B523-EAE39E12BBC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F4CF873-5EEF-471C-9842-1FD08E78377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189D1E2-E628-4777-947C-0207C71E8EA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3B892AA-02FD-4AD7-93DF-0F56483DDDF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E23AE4D-FC3E-4722-8252-8FA6EB7B77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B82A3F7-64FA-4D28-850B-F35F4D22E3F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20EF1CD-4395-4F68-91B5-26144AB3154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93A7252-2217-4DC9-A42B-F49C70BB1C6E}"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178DAF2-CC5F-48ED-AFB4-F24E78006CA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02C182F-78EC-4B20-A93B-E2ECF138ACE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938E29C-2303-492A-8140-E71964181B6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17BBF2A-B441-4788-B9C2-E13268CC825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912CFA9-4265-4D03-82AA-479D37F17CA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E25BD18-5E3C-4890-B383-67DB3111718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CC5869-9579-4627-BD52-1F9C613CB55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537CC15-78CE-4630-8DAE-F6CE5C43E46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31EBB06-1DB8-496F-B432-075C0FF9A06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595986C-4727-480E-AEC2-FA8BB5E1709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1E38A80-8A84-4757-9AA5-06D5EAAC31E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38C634F-DD14-4F59-ACCE-FFC89BB9E34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0A32568-5FBD-403A-ACEE-D92381801C5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BA0DCCC-FA61-439F-855A-78D31B518FD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E99DF75-BD55-4932-8A46-ECF40CB4FCD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C5B2B68-2E08-405C-913F-98557ABA35A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10A1CC4-BE3E-4E1F-AEC4-B7B311CD4FB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A4765F9-3EC2-4FE1-BDC8-422825EC4A4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BBF310B-811D-458B-8047-C92DBABED2E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C86239D-1827-4EEA-AFFA-2AEC39703D7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CC2724A-ACE2-4BC0-AD59-C9D3EAC2992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3C9FD56-96A7-41C0-A491-328F448EC39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5522723-2FF6-48BB-8A8B-8699937BD79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3020CAF-E33A-4E39-A53F-B06EE76BAAC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64E76C3-ADB4-4B1A-8828-AB5445E45D1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E2A638D-FC04-42D9-855B-6FA631D553C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DCFF1BE-09EF-499B-BE5E-7EA37E85351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A7E0077-E26A-4F64-BE9B-693C29EA3FD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F7866DC-1772-46DA-B1B1-4ED6B114B3C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1AF04C6-E800-4969-A09A-729936280031}"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262BF50-6F84-459E-8899-9783F2C375E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7EBD658-489F-4C78-8788-D630FE3D126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8D3A841-80F7-4B5E-897C-BF520B7AD03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FD6F672-72E8-431A-88A9-9554A9724BD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3FBA3C1-B1C5-4404-A799-E6ABD54B881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DA52501-316B-43F1-BD78-C6A0D12E6E4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9D590C4-AFCF-4F0F-AAC0-F46ECED42B2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E645DC-5A7E-4D86-9922-9C63EC915D6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BA15BA-7D54-4AAE-8F96-F5A1B614392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8146AF6-2758-4F0A-85D5-FAAFE14D873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0818526-ABE5-4018-812C-7418CDA400E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1498DA2-7A86-432E-B37A-3084BF74AE1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30C467A-95CB-4D85-96B4-8FB8EF0364E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A4280EE-43F5-490D-957E-62602E4F7F5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9145D8C-17E3-489E-8974-B48851DADFA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7D0E028-768D-4D36-B3CA-2400962A967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EDCD940-69A6-41F8-9965-8D0D737AFB2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11D9FBE-D07D-4D1C-BC12-C7807688C9E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F386851-CB18-4CF6-8CDA-7FBDA12977A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AF68456-A88F-4745-9867-35D743F83749}"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7C72907-1F95-4F70-950F-166E7111F03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1B5C0C8-3D2B-43F6-9C78-ACB4CECAB1F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2B94EC8-53BB-43A0-9DDB-18EB2E2398F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685A07A-9448-4E21-830F-40FFF76FA7E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EAE9A29-3165-483B-88AA-57D255327D7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E41148E-9ED5-4476-84E3-A1DCF2F493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6B00FDC-A432-457A-9F12-526E20A6598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A3DFC21-AA58-4A59-B295-4DEAE2F6E11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1B43752-93E4-4E44-A8FD-1EE36CFB6BB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1DC80ED-10AF-4858-ACCD-075D13902CE9}"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0C3AD78-EA42-4770-8DF6-971D8855772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3C2790E-3385-4877-A416-C1EDD4EA7DA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511C73D-3974-4FD5-AE85-C7370398AFE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1ECF428-55FB-4DF3-B8CA-8E4F43AE40F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F4D6791-AE71-4F72-BF25-21A8C20A568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A60B1CB-5541-474C-8928-181A711CFFA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75305A8-2B81-402A-86B5-1AA6BDD888C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5C4D79E-1F86-4617-AE76-1209031FD09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BED754-8965-4AA1-AD77-B5E217F8F4A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B21B3FB-4702-4690-B13A-C016DA26F9E7}"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E6988B4-FA98-44E2-B7E0-D0629A1783F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AF883-5F83-4826-8AF9-E2C38D2F458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9FDA313-CB1B-4E6E-8730-B340D7B704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9A6737A-595A-4B35-8331-A067DA8E572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733B7A0-D623-4693-88DC-F9F72BFDFF8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0235E79-53F2-43EF-9604-D056A4807DF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BB79D28-9B68-4214-B8BA-8A9F0F4CF29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681C7CA-9C42-42BF-98DA-3E6D9F83507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E8D73CB-731C-4073-8C93-937C201B060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9D93BD2-2248-4092-BDBA-03E7B7392FCA}"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11B84FA-9089-4B61-8AAE-36130947255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5738864-AC00-4E83-8FDA-725A42AFF5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1402F6-5DFF-4D3B-8C21-8EC0C0C9AC1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D6E5739-540D-40AE-A43B-3416ECAC283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D717AFD-22D9-4B2E-B2CC-D00E60D8D5F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15505D4-6C10-488C-A86C-6FCBA79173B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D8F2C24-7269-474C-870D-7BDEEC5FE48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CDFF453-C561-4A66-9958-8DEF4EE2DB0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955379C-0A9D-491E-822D-EAD0C1CCAAD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DC72717-E2C6-4796-B5DF-BFF9C285236F}"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EF7ED17-8610-4B25-9FF2-5CFF1F2C330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698FA75-B9F3-4331-94E3-C2948C15F92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861077F-7440-4627-AE3E-E006A693951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7FFE3BE-C757-40D8-B96A-2A1BE9B24D7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3B0CF46-E753-40CF-87FC-8FED7146AD0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4B207EB-F209-493A-BCBD-1471813A0DE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9F28A25-C9E1-4474-84D2-BE1D6531AC3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19B267E-8889-446B-9053-2620BF8162B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2BEE499-584C-40B4-91B5-8F71B4A8336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131CD1B-95E8-45A3-9CCA-4A4B8CA960D2}"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A07BCB7-17FF-4781-A695-A39AB1FA48D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24A573F-0C9C-49F7-9A9F-00929A36F21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23CD8C5-B296-45D7-B2DC-DAE9E54B0CA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FE0E469-FA96-431C-B0FE-0900470520D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A8EF794-FE3C-43C8-B14C-BC4C15D8918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A3C5F69-F9AB-4CC3-8723-00BB10E0B7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9FDD8F0-B69B-46F7-B9D2-550E03FAD03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2AEE76D-5713-40AA-9F89-CC98C3E9758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CF240CF-62D3-4990-BBE0-D2300925BE2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5D7ABA9-709D-48FE-ADC2-5151085EA302}"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CE3EBF0-754F-4817-8F59-98D3C72A2CF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8C52654-815D-47E5-98B4-CB061CA16F4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4A91A63-F1EE-41D7-A118-5044627F18D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83C8C5F-2185-4B14-AB93-C00E3828E4F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3C8107A-9D32-4D6E-AB14-F5D88F55CA3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AC4E211-BB48-4ECA-90D2-5AF96B86602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F634AF7-1B40-4E4E-99EF-9861C1D1A33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0236651-2A73-45D3-8363-51B1706BA5D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5E7C6DA-385B-4FCA-A3D5-514F80A9EB8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79E48A4-29CE-429D-B5C8-2474DFD84A7F}"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54688D7-540E-4F6A-B53A-FF0C9004B68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A0AF391-A027-45C6-91B1-B0E7116382B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0F053F0-E06C-407B-829A-6ED997552DC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274B60B-0216-464D-93FB-9A6FB4CB74F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1FDED6A-1B3F-40CE-A4A5-587B45A1292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202D867-9E4C-42C9-AA64-BD589431EF8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5BFF51C-3FE9-47CC-B7D6-D8C9BD75FB6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9EE5A77-8582-4CE9-B622-4E934B9563A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FD58732-8D2E-45BC-A11E-DBA63F93B32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4DDCBF8-5D63-46AC-A74A-D892837BFEE9}"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40A9C48-7CAE-4CD1-B26E-728C26279A2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DBCD709-E025-4AE8-9769-C9E2F2BB30A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3ADF342-8AED-4A32-897D-975BD072ECF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1FC9BC9-2732-4B51-A195-20E7F3EC0F8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AB4F165-CE73-4E24-91E8-DD8E04BFF30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66DA9B4-03C0-46F7-9A76-E3E04630BF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F2BABB2-581E-490F-B2EE-D1145B73D30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996E31A-C78E-40A7-91C7-C887A669E68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76456B0-D543-4D64-973D-10CF8FD2476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720029C-D746-4149-B91C-F068828C40C7}"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1F47FE7-C7B5-4C65-848C-FDC36BEF8B6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BBFA11A-14F4-49B3-B94D-FA710721C0B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45A1781-7841-40EF-BFF3-198E980779E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24DC3CA-7CEF-49B6-BFD2-10F6F054EF6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5464368-DB3B-46A0-B503-750D3161DEC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040D954-D636-463D-B5E8-FE4EA640082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76BA8E4-1D1A-45B2-8C36-D7894372D6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03AC50E-A6EA-4F2B-8E7D-3A89D24D33C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1B4614D-893D-4B8E-8221-9BCFCCC1D96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73F70FC-9BD8-47EA-8502-772232C1798B}"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6D8A56D-C783-4DFD-BBDA-74B51188F5C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FF7E047-572E-42FB-AC7A-0DAEF193F68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9F9AA82-2E25-46DB-AE53-A182696238A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70CA072-127A-417A-9196-B38AF8C23DF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D2A0804-7B09-4862-B25A-46441350E15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6A3B653-89D3-40C2-9842-9E7EF328DCD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E209133-4DA2-4285-98D4-2C1B2259A6B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2FD2606-8655-4A4B-A87B-6676426A695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66CF269-4D31-4331-8142-5E883633E67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E10CC45-F04E-4BA0-8197-0CB39B8AA11C}"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52655AB-C010-46B5-8CD0-34BC168BD66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72CF852-C19E-4626-9BA1-7D06EAF3A69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31A4A51-2496-4945-996E-63F493F7BF6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20849F6-B14F-456F-BB1A-0CCEF63D19C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A235166-BCAA-40ED-AF7F-469A5C68309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C77313B-26D1-4647-A2D5-6546ED8A87C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8B46E63-39C7-4A31-9779-96A378517DA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6E80FE-54DD-4938-BD65-6A0D9066BBF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3C5F45B-441D-49BB-9CCF-49B4682D723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92DDAB3-96A0-4604-B77B-173BFCFF7FD7}"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B79EC6F-515F-4EB8-B606-EB8129F944A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580DFB2-8BFA-4B1A-8781-6F4792335B0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311C0D2-7501-4A5F-9E2F-3AA1B407D77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4935536-AA9D-4893-B62B-5C50A2E522A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DC05241-ABB1-4171-B99A-1601E1E216A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C46711-58A9-48AF-ABDB-21B236C389A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17B14F1-14AF-4D54-8DBE-7F72D07046C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5FE85FB-4E75-493F-902E-F11D3034F0D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701834E-F84A-4FF4-A863-B945E8CBDA9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7308A31-D86B-42B9-B463-8EABA2887339}"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B13EBFD-5A6A-4E46-B3FD-E68041488B7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EE94905-B29B-438E-97B9-70EA75C3A99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E95709D-D5B9-4329-80EB-D5F4955E6B1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FB6CDCC-5736-472A-B56A-88F9CDB3BCD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74917C5-FD53-4A52-B57A-B4B5A3E00B9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89E87EA-A614-4726-841C-47F4497DEC6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5CA956C-F7B8-4798-ADF6-AE57BEB326D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8BBBF2B-9D14-4601-8254-E92C2E76376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E5475E4-26F4-4980-8E04-FE7B7000865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876FCDB-6E9B-44FB-BC43-3487284F9978}"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87AF59A-01E4-424F-9892-5CA710F42BB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60C0C44-4097-47D6-B9B8-27CFB789C78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27461BB-705F-4330-8966-1795487A010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9FDE0F6-7253-4E51-9005-F562EC45412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CDE8C6D-0F9F-419B-88F9-B4EF831D648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812217C-AD0D-4DD6-BDC3-82D2F649F62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73D6CC0-BD32-4131-976B-153FA5C5736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5CEEABF-9E1A-4603-8DC6-270F6D65854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FDCF1E8-8CCB-4D64-AB7A-D1FE2AE5F0A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548FF81-9A2C-4CF4-B04B-27B06842BD2B}"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F4C6DF7-DE01-465F-8F37-F657DA02E3B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011204E-1B72-4694-BF00-D16B2CBE50A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296E057-884C-45A6-8648-B9AFB72C234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5713968-D13E-4165-9DDE-2AF6ED9EEA7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12D8488-3579-4F0C-8082-45FFF85C28B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86E3D47-8821-40DC-AABB-48CD2DCAD96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F27ECD2-62AB-4A05-BE2A-DEDF47140D9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876E1AD-C1AF-43A1-B4AC-E435A778E05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95EDA39-F2CC-4A4C-80A1-AA2080FBDBD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62A4D5C-37D5-49CB-B00E-FE100204BF92}"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095D998-C549-4050-ADEF-B1D8710FE4E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91BA93C-9259-4AA4-AB1E-F05E98C361C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FF2093-0FE4-4B5A-AC24-E56B46AC21B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35E9BAC-A68C-415E-9442-CF515E70419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BCEEC71-B5F9-49A4-81DB-1D76D3FAF08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E0A0901-CA7E-4027-AF6E-7C3569C665E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11F35A8-50CE-4C4C-9FB7-70A41034153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86BC198-392C-469E-AF97-5C85A5868F8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73B614A-6043-41D9-9339-DA69FE1510B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C98CDA0-4863-4D8B-A25A-F8DAB4A5526B}"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F6B0469-8420-4F11-8410-12F037FFED1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5269828-ECF6-41E8-9153-C2CED8CC63B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5C5513E-0610-4312-9D47-A443F338F97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FF1F7E1-FC88-4BA2-87C4-02AA28D86F7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7902DC4-F609-4AD8-A5BA-AC55A604F95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C8718C8-458C-43E1-9F52-1FA75E1F0DF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FE75CAA-DF2B-4887-932C-A92D9CF6BFB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E327031-D7B2-4185-8223-4543DC307EA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E2CA89A-5C94-4101-ABD8-6DC390CBFFA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089B566-87AB-4B0A-9B69-016DB1385BA9}"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2417ABB-5FB4-48CF-8FC4-930612D4420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1172C38-CBF1-4133-B21A-C8893405F77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C13BCFB-B719-4D3D-BAB3-8B9E3823E07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27A4CFD-74DA-4E31-A645-7164128DFB3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C04C1E6-5FD9-49BE-A51A-CAE11F1978A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61D223A-BEC4-4C71-B7DE-66F26C2B719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5A01FF6-9E93-4C78-9EDC-3EABCD751C5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410EAAD-BD81-4DFD-A90A-2EAF9EC6A8A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C57D516-9214-4717-A9E8-CC0BF35592A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17C9E92-73DB-4D74-A6C3-BED34354146C}"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5F426AC-C2FD-404E-8D58-E8A7FC9C0C5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AB15516-1B45-4EBE-BDD4-A3B23942443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34850DE-069E-4059-AA4E-472E27385A3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0FEDE63-CE74-4E41-81B5-2DF0C2BFC6A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E2E2539-815C-490C-BE31-BADC3060D20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D75DA7C-5738-434F-8CB0-10B56A71879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13D93BC-E952-430F-98AD-236AC3FFA89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2AC3C0C-0788-4A02-9667-CA2C5B6D90A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2D0E218-84AF-440D-A78D-557540274E0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AFC2932-4703-465A-81BF-77948F875491}"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2959C43-8CEE-4B02-BC5F-280493226C2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58A40BE-A606-4520-9772-A2F47E87A66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05FED66-2D88-48C9-A116-6AE3768D665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BBC82B6-7087-4F58-964D-D891E903BFE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BCBCC63-4B4A-46D6-8EC6-A6BF0F2DA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B27B3B6-2C75-4024-B9FD-3E1527179A8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D4294A0-F46B-4B7B-8A16-02FC4FAC238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1C53416-1816-4320-8252-DCD241B2B41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A9C8F24-36C9-45F1-BA3D-8EB3D8FB204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7AF138D-8623-45BC-BFAE-AB20EFFD533B}"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2D47D20-2302-421E-BD23-78B39B564C6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A145680-A072-49D2-A345-3CEDF936AEE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8815304-FB7B-4B3A-9B89-8FAFA30C7F5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C004D4E-34F3-4499-8016-E8E6C483F7B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6441848-0F90-4AF2-B682-6F6CBFA0ECF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D066436-8400-4D82-9909-248A85FD510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A3BA91E-D189-4747-8DA1-AF525497F78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8DDE659-9531-4A64-B62B-9ADC6244650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80A1410-F3F4-496B-8E55-BA24B202779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87D40BB-57AF-45F4-B63A-30F41FF8AB88}"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E1337EE-82B6-427E-A4FF-F4A2A23A9FB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5FFD412-70AA-4161-AA60-1D7888411FF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9538AAA-D665-4503-B52A-9190C23F280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38135EB-46F3-4189-9A82-B667A0FA7B2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7177C85-E70D-4A59-AF5E-85C5BA5852F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71E474A-2857-4F46-8BBA-42F6449AF71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AC12508-5273-4E6C-880D-CD22CC8224C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AE62AB1-CECD-493B-9DB6-6B119119FAB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486B7A8-5D96-4347-984A-4ACDC2381DB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FDC37CE-20FE-4084-BFE1-17C94081A92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E59ABB-7130-477B-A7E1-6BDA6590E00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FF62D2A-78F2-4867-A017-73CD4B76EE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2D96577-C08B-40F5-BAB1-EC6E3C1CDC8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0E07A87-75E4-4EA7-B05A-807A91EBF97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A0531F4-2C1D-426C-9C33-3E586053B85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F51F867-D0E0-4A77-AE3B-32C043B7EE1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5AFA33F-9317-40CC-B6EE-1B43067CEC8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E134821-9370-499E-B2C8-F601D14E57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6C29D84-791B-42D3-B152-59293BDD463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EA72FBD-563F-467C-BFC5-BE85C140333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E7805A2-0F3C-48FC-8D26-AB74AD438B9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E26ABD3-9490-4169-98B1-9FD48F7B89F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D34851C-E053-4428-8CCA-08A2CF4EB6B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E5BE5EC-1101-47D4-A6C4-B00B28E9EA2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5BCCCE5-2786-44F5-B850-388E520A750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91B3874-28DC-4CC2-A2D1-0EDF6A5EF69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13160F9-BAA8-440F-9A1A-5FFB710B06A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6C6A1E8-3E39-487F-9F67-373FC9235D1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112FD6E-8AEC-4011-BB29-D49F877B5D6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2DB0C66-388C-46B9-B365-A41A4309DD31}"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786D06D-4DAD-456A-AB92-A709A41DB77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389FCE5-C1D1-4C6C-A9D2-BE2CF726A68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475D855-64BD-4976-87D9-4CB2C655046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546D5DF-3973-4BE3-B249-076F3561619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8649846-67AD-4322-9C22-98E21749CF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401B76E-3295-4499-835B-2DBE9171F5F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595FFF5-34A1-4E54-A2A6-2D151B141C2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D80BC11-358D-4A51-ADD0-0782F8EBDA9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76B79B9-8D72-43CD-A7C4-26050782D16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1C20194-2F47-47B0-B1A3-0428A9239A3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DFF00C0-E04D-4C8F-A407-206A61C9293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27FD67B-F9DE-47ED-94AF-B64C789C3F9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5DB9641-F56D-4C84-A931-2AD20F395FB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B5BD311-6775-4EBB-92C1-C1F406B724C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77C6394-2F12-48AA-9103-FD7A85CA4B9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F40D7A0-829E-4660-AD6D-357AF0B0699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68BAD4C-3E25-4FA0-BC22-23D4F64405D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C53A69E-CA9E-4BDF-B7F7-E1379794B07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2879845-0787-479D-A377-AECF923FCB9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3F090EE-BF1B-4939-BD5E-2185105BE2C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55CD5B0-3901-46C7-BCB3-75E1A4ED70A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92E5112-D1E9-45D7-BC37-9F964014E72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D58CFF2-F169-4D27-887C-40E765E9B21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DB3CFED-B766-4DB3-AEF5-C8C88AC12AF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476D415-A10A-4B45-B21A-619BCD5B5A5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CF464AC-7F5E-4E1A-91D1-0B52E42F4A2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D9AF03A-8F65-43E0-9E10-401C02E701E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99FDC40-8539-4C3E-BBC9-611DB7995D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5B1E0A2-F1E4-4CD9-9FBB-166D6BC6E18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45446EB-7EB7-44C9-873D-035C6EE6D4A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EE165F9-0B85-41C5-B302-7EA46454B02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4587814-0C03-4804-B3FC-E645FEE190F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66ADA8E-7EC5-4AD0-81E8-CEE9047B5D3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F1F42BC-B15D-43F0-99DF-DDB5ACE577F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90F9DD6-B286-4C4C-B5C7-53760A82112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C813A16-8C07-43E5-BF98-7826A36954B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8F96F25-B52C-49A3-A835-E41C0C35792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15CA854-7238-4C3D-B349-6F5E3EE91D9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B324DCD-3DBD-41DC-98BD-6A69C35FE2D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F264FB1-42DA-456A-AEA9-CD1F248787D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8EAE27C-6F9E-48C7-B1F2-03AA68DD5C1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240E3A4-3C56-461E-9D97-A9295E217A2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DB37E4E-0688-4F98-9D73-090745B2727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3E2F7BE-1E48-4A4D-8358-1277D80FA2A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4E8542F-A378-461B-8F5A-82D7C90C49F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2832061-A7F8-4B43-AEDE-E9BD0582D7E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359F1CC-D54D-4DAE-B4D6-0132F000584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331C966-6A3F-4DBC-803C-B622A5A0764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B93ED0F-310E-4C37-830D-083871AE284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AAB8036-E56B-4BF1-9C7A-84CE7D214323}"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977B9C9-430D-44D2-B10D-897FF43E5D6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53721A3-D912-4E99-A7FF-404FBE2513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81AE6A9-C877-4BE5-911C-6731B0ACB24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72F621C-5D1A-4ED5-8DAE-B8E2CCC4786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B257646-9C51-4DD7-8D6B-79574805A41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2709074-CC0E-4154-B9F6-8A2E5FF4ACD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3B4A50F-C6E4-4FFF-B9A0-661A800FE7E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421B17D-EFA4-439C-9B4D-3E12F94D2FA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A28F98E-05AE-438B-BA94-C6066B44112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50775B8-324B-4601-8834-E2C42D0FA5F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0F0854B-6318-4E1A-9CC1-FAE7EB291C2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D46E186-A433-43B4-899C-BE5C8BDA90B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D8481FA-C4DE-49D7-A3A2-B41669B66D1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EB3B6B1-2A33-4804-80F2-D46EA8AB75C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2DA1C28-3116-4C38-98D8-29BCA3CBDD7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2B763EE-9394-466E-A3D6-4FC62DD8C22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F3F598C-E2DF-4ED1-921D-BE4758996E0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3E9DD49-A4C9-4000-B9EA-17B1FCB7CE9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294357D-C529-43F0-810D-6F0102D34E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E9AAE22-CC27-41B4-A0DB-205A9A80E0A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C67865B-AA94-4B0A-87E4-8242B252970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F54F26F-B479-47DA-9455-9E7E0F9F6DE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361EC2F-5598-4139-A094-E9476AC17E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B6A6EFC-9883-49DF-BDC2-E0ADF26443A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0EA4659-1EC6-401E-BABA-3468B21B411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912C442-478B-4A6B-B256-AAEEF8B6DF5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CDF4379-948A-42CD-A42C-52E42C383CF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0A7B4E0-B11D-44D8-8DAE-2328AB36FFA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F0C1FAF-33EA-4AB3-924E-8D8BD0C37D8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AD06F83-FF10-4B18-9EDF-96CB2C41821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0B5D96A-FC25-4E2A-9811-F540D8FDF79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51CD874-A117-44E9-9D27-01140350906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6A73AC9-CC3F-400C-B862-783ABED7A07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0D46885-40EE-464D-A5BF-5539DDA0B6C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7C46703-04BA-4A00-96C3-8ABE47112D9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02D19CB-F191-4134-B1F0-9426BB3D5E5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F2D82CB-0150-47AF-8AC1-F1E1BFE542A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050458F-3323-4093-9CC6-7A0B8017DF9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17A7DE3-F18F-444A-91DD-CE7DF986B77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4F4F9A0-BD34-47A2-9FAE-7C5D922C8A1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2B3C15F-D007-40B3-88F9-DFC468AE8D8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E3DA494-5FEC-4124-9B90-EBBCA82A847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B13CE67-2BF3-4BFA-9DD1-1CD5E842838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7A5AD83-0D7E-44C7-BC05-47DC48CB78C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1353093-9C4F-448A-AAD0-BB5F9B337F9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7AA4E24-B8A9-4845-9425-094DA846ED5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B90A418-7F55-4A2B-A468-5245A0C2A81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F752B42-785D-4B86-A6E4-CE02E3E98FA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00C99D5-3C5B-428A-8924-451F248B082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FBF67EA-9815-4348-A239-1142E813294B}"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568D1B5-B193-4968-ADAC-A029B1A473B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E4E5771-6FAC-4C6F-8EF2-64E0F205737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1A847E7-F59A-4D5F-A0DF-04313A17C57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78AAD93-18F5-4FE5-9C5B-B680FA391A0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EFA69B9-FA3A-49D0-AA46-F6C12E1CBC5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31C2040-4DFC-40D9-A3AA-A2AD7C28905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7334A4F-EBB7-4C6F-A8A5-4C51C8F583F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B153C0B-187D-4EA3-8647-9C648EF15D8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00AEFD-2F52-4E00-8DFB-1E35575EABD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8F05D07-AD9A-46BA-8193-3401FAD94D8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B53F790-0954-428E-9F98-7BDD2F68477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1F514B9-CA8F-433B-9E16-0CF64D3F002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03D5C27-002E-470B-8E4D-D5EFDC1339D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103F80F-0AE7-4A60-81EA-79309C71269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1AAA902-CD38-4841-9F26-7B837E8B942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8EE8AF2-3D1E-4D50-94BF-F47620565ED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00B83EB-E07C-4CD9-929E-0EAC50E235B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6D878C0-E1A0-45BA-914E-11F846327A9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45FD1E9-F308-45A4-B549-A6D42A11D19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247D554-D091-433B-A976-BAC579936BD1}"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93C2B35-F0A8-4A42-BEEF-9E114B58F71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77E0CF5-79B5-47D3-84C7-F55478EE5A4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C60C2BA-B641-4899-8176-A735049B9E3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1F39F46-E4FB-4465-921D-96B35A40065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F0F3969-A57F-442C-985A-958AE92A00E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88FB9D6-C868-4610-8D36-DAA729C4C56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8E825B6-3A52-4D67-9EE0-882EFC81D31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14BE464-AF0C-4525-B254-0BBF0CFAA53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3E7B58-5836-486E-990E-A12CC83A5CC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2C77C5B-9632-4F96-933C-61E84CAC20BA}"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33B55CF-B1E7-47BA-8C3F-E73BDCA2653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8E574DD-56D0-44EA-A2E3-76C78B03218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CA2F7FD-7544-4DFA-9815-50B77BB0BAE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5D62969-A9C2-454E-AE52-3F54604FC06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218E96E-99D7-4E26-AEC6-A2460097788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1A16BF6-B936-4EEC-8039-2D6136228C1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6DEAE7E-3DD6-4287-9518-35DAB696DEF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7142030-1AF6-4A54-84B4-CA992455E22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9EA659F-8A6A-4CFA-842C-DDF5C0D36EC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266BD39-9FAF-4798-888C-F6987FC998B4}"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517DB59-A4C4-4D05-8DF3-AA0A8F9BFEC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C863CFC-333F-4001-A6AC-CA387A5070B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1414863-67D0-44B8-867E-9E4E3B80B7E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C45A1DC-4EA0-4D0D-9979-38A16992114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7A47369-4A72-4E29-BF37-9519E96702E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C3D0863-EB49-454A-9010-75E6C8979F4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9503C08-AD44-4E6B-BE2D-5C4F80C859C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901068B-E0F7-43C9-9F4D-C7AF5DBDEA3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1CED93F-4101-43CC-9FF1-18E900E03A9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9C685E1-1616-4221-AC70-6D6FB1F42A1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F475BEE-8941-4BA4-A015-03E6B0C9346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D91C288-E241-4860-A7A6-1DD6AAEAC84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F8BACEC-DA75-470C-980C-322F2C885FC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73237B4-9037-464D-9323-34FD9F66A9B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3B294D4-054C-4E4A-BE31-F5906D68D92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D65AC57-B1BB-4A1F-A408-C322FC6134C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7271631-24EE-43B1-8190-D30FBFF8C48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C448862-13CA-4984-9B07-5876F256FF4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D89450B-E0CD-4576-8BA1-125D3BCBF99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A220231-9977-4BA5-982F-ED44D10D9142}"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E2F8EC1-4FD7-48C7-A4D1-FCBA1FE7C08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4B77398-302A-494C-91A7-68C22C6A7FD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0BFCFE-343B-41FA-9C2A-CBF73405635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7E8A854-41AA-4A54-88CB-3A638A77309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FD19D8B-9906-42BF-AA5E-A174BB93D64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C460F3C-07FA-4B2B-A135-F6B5AC6A57F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606F98F-E90E-4ACC-A02A-FB7BC855D58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A3BCCAA-F583-404B-870A-737F164DA0F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518E902-4935-4FD1-ADAA-3F602344B08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E8B7A3C-0116-4559-A068-5A49D423138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922B374-86A2-411D-9488-ABCA8185B78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A1DD7FD-7A6B-4545-963E-D3CB722DC9B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920825-90D6-4768-99A9-527E4DD661F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CF569A8-8AF7-48F9-A8AD-4E52B57333E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A5CED05-F8B7-4A22-832C-45935D98F57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7367055-C425-4B04-A1AF-634B04EB368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2A4BDFA-7785-4CED-A687-20A9B5B9302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5A4BFE3-FD10-4250-9ABC-167C08D81CE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49A633A-3F73-4DB1-BDAE-020C011E43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DAAE7B7-8C27-4F87-A115-593A9A713B4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EDC18FA-D7FC-478B-8411-FD6FB789C5C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ABA7F9C-1563-4403-8311-7A5B4816DEC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5796A16-B55B-43AE-BB9C-E76A03E19AE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4DEE90E-8E66-439B-9105-5FBE78716D6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714B261-93C4-4E21-8693-AA94BB5570E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00FE278-6E5E-4271-904C-810F5324017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7C0C69E-1EE2-4A52-950B-35FC782D1CD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FC45E82-4EF5-4512-B728-AAC400A6823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682E63E-6C15-4617-AF23-BE2B3C6AE35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BAAA19B-7363-40C6-A8D0-16A39D9BA22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1DDC109-904F-4567-BB9C-7A64DE29E16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70E848E-73E1-4745-B347-0779F73E845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360E0EB-8640-4A86-B7AF-E55B0D73DB3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2C42607-7025-4B56-96C4-20DF8FA7B64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297288E-079C-4BD1-B849-9FE6BB118F4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CB9EB25-74DB-4624-A141-7A40D758EB8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CEA7E23-2F81-4195-A357-4AD78DC8044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D5EA20E-5D0A-47C8-A50E-FE6F5582B04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A1575BF-B988-4F26-94CD-2245419A37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C797919-6EA1-49C4-A0EB-3BC8385C98E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1CF8F7D-7921-4C71-8244-6D2B9D0D13C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55F68D9-6BB0-435F-B0B7-1CD3AEA2BF4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4F435B8-B24D-4715-B124-6C00952D0A8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18AEA15-7923-4DF1-BFDE-7633DFFD4D6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F5C2F56-BA66-4F4A-8CE9-D6D8C9D1DF8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9/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9/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9/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9/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9/9/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1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1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1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1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1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1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1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1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1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chart" Target="../charts/chart1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chart" Target="../charts/chart1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1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1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1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1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1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1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1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1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1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1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1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1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1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1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1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1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1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1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1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1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1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1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6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6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6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6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17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17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17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17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17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17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17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17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17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17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18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18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18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18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18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18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18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18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18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18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19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19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19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19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19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19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19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19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19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19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0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0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0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0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0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0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0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0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0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0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1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1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1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1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1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1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1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17.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18.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19.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20.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21.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22.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23.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24.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25.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26.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27.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28.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29.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30.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3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32.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33.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34.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35.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36.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37.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38.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39.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40.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41.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42.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43.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44.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45.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46.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4925674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27247956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94875748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08714890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58418077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37626802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277246643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80606959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112694682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326084481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237250230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11245108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426964135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339935963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405364905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411472024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165322122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223821880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368807209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339025508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101921963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369832266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2199885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10768382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198043127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63362319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117551677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425127700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215525481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32737899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413091229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322644555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140445329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3307023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01767540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275222338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124444996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125209883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139756111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174687502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225212000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39355599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217834836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120701294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34522548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48219489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301467415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201310448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45491617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175189045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20834974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322847425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160873542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81844947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299793759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39075752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81375762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400204653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208650128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118757565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414995777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5113575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94124547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556956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93476395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28552127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35083601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68389589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345493958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27871733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192139856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244091440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217148386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282199055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295752717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15755919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103235269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617005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345547999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197812053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350872571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197252502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166644359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223482261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324428488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170420551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164431960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26815336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31820139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863960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235542223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386559201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311868361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63501950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58426978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313739968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405206046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296700683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174861321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2333877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299500050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123704531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20339201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122885867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64008220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4167365568"/>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133717347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79734841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98548406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144718685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1051254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17471911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350983504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43272614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293551201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216534954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3066120419"/>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423371609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235421066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124608426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309680779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375274587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22764775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90711688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1330042172"/>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274403500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264813956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17096897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410532178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3228094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160764706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153930058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384560071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1628541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15861721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1647292458"/>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159044284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354168888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102926206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217697905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294084432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169223387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233122895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360816314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34191267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338227598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78029457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425008621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357273982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33688154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289741792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385124185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72306144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2444302058"/>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377624478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79279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28879515"/>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340550448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132434970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92755264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15166493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206403849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325577177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99986714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328941582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263011046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262537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63937660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2337859275"/>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790701966"/>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74761433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944736321"/>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217821488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4219663870"/>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2177160218"/>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380163615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364885985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16172115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1712174605"/>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260935269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62757032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404794070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369906575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117992030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208131485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3329241881"/>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44391167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415357739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41481246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383871316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327260255"/>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312741839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74746143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740851278"/>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208156240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3348798508"/>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47698837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2234829334"/>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72710691"/>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36491418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661268478"/>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239436022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3862617158"/>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57198553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2304970530"/>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104781791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3980069977"/>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2315411058"/>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4062781160"/>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4151075253"/>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32702551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266618131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2938739363"/>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16232861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1084833"/>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902845071"/>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1676601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9963461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966611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36609170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39200461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8209926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15028427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1211481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38113841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9163065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27338265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2868236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42670954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21535093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31196616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6836075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36836524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21352298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6890626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11186443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28020163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24918654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11088118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27356525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2358585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32062338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1522513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25308342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30270901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7341574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5018827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08977074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42561389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36810444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6286468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8401098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606210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35907295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4561760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2628962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4849896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33523542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3659348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57962678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414933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2961011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696460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142898058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9704752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33761832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364496205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268563273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427456884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42900795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39683102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29593258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2340716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241834797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317051995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12011065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7338303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37804800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28756048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30562803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21447805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172336918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3189138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137073161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179293936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40930378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296214918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228880492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343533065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80868352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394465742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53005932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167024208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19373718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1</TotalTime>
  <Words>27237</Words>
  <Application>Microsoft Office PowerPoint</Application>
  <PresentationFormat>On-screen Show (16:9)</PresentationFormat>
  <Paragraphs>8142</Paragraphs>
  <Slides>294</Slides>
  <Notes>6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94</vt:i4>
      </vt:variant>
    </vt:vector>
  </HeadingPairs>
  <TitlesOfParts>
    <vt:vector size="30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Ali SALEM</cp:lastModifiedBy>
  <cp:revision>22</cp:revision>
  <dcterms:created xsi:type="dcterms:W3CDTF">2024-07-05T14:32:36Z</dcterms:created>
  <dcterms:modified xsi:type="dcterms:W3CDTF">2025-09-09T12:0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